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1"/>
  </p:sldMasterIdLst>
  <p:notesMasterIdLst>
    <p:notesMasterId r:id="rId19"/>
  </p:notesMasterIdLst>
  <p:handoutMasterIdLst>
    <p:handoutMasterId r:id="rId20"/>
  </p:handoutMasterIdLst>
  <p:sldIdLst>
    <p:sldId id="256" r:id="rId2"/>
    <p:sldId id="454" r:id="rId3"/>
    <p:sldId id="455" r:id="rId4"/>
    <p:sldId id="435" r:id="rId5"/>
    <p:sldId id="466" r:id="rId6"/>
    <p:sldId id="436" r:id="rId7"/>
    <p:sldId id="449" r:id="rId8"/>
    <p:sldId id="456" r:id="rId9"/>
    <p:sldId id="463" r:id="rId10"/>
    <p:sldId id="440" r:id="rId11"/>
    <p:sldId id="439" r:id="rId12"/>
    <p:sldId id="457" r:id="rId13"/>
    <p:sldId id="467" r:id="rId14"/>
    <p:sldId id="459" r:id="rId15"/>
    <p:sldId id="447" r:id="rId16"/>
    <p:sldId id="461" r:id="rId17"/>
    <p:sldId id="258" r:id="rId18"/>
  </p:sldIdLst>
  <p:sldSz cx="9906000" cy="6858000" type="A4"/>
  <p:notesSz cx="6797675" cy="9928225"/>
  <p:defaultTextStyle>
    <a:defPPr>
      <a:defRPr lang="en-US"/>
    </a:defPPr>
    <a:lvl1pPr marL="0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53631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53635"/>
    <a:srgbClr val="31859C"/>
    <a:srgbClr val="5F497B"/>
    <a:srgbClr val="BFBFBF"/>
    <a:srgbClr val="923635"/>
    <a:srgbClr val="48C1A4"/>
    <a:srgbClr val="36D7B7"/>
    <a:srgbClr val="D3491B"/>
    <a:srgbClr val="F59877"/>
    <a:srgbClr val="F278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977" autoAdjust="0"/>
    <p:restoredTop sz="99423" autoAdjust="0"/>
  </p:normalViewPr>
  <p:slideViewPr>
    <p:cSldViewPr snapToGrid="0" snapToObjects="1">
      <p:cViewPr varScale="1">
        <p:scale>
          <a:sx n="74" d="100"/>
          <a:sy n="74" d="100"/>
        </p:scale>
        <p:origin x="870" y="7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Yosemite:Users:alyssiasastrosatomo:Dropbox:KPPIP:KPPIP%20APBN%202016:Ad-Hoc%20Support:PSN%20Report:Data%20IT:160920_Daftar%20PSN%20Final_Nilai%20Investasi%20&amp;%20Latest%20Status_v1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akbar:Dropbox:KPPIP%20APBN%202017:4.%20Ad%20Hoc:7.%20Deputi%206:170406_Rapat%20Kemendagri:170404_Database%20PSN%20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55969072615922999"/>
          <c:y val="0.13351888305628501"/>
          <c:w val="0.44030927384077001"/>
          <c:h val="0.70518445610965297"/>
        </c:manualLayout>
      </c:layout>
      <c:overlay val="0"/>
      <c:txPr>
        <a:bodyPr/>
        <a:lstStyle/>
        <a:p>
          <a:pPr>
            <a:defRPr sz="1300"/>
          </a:pPr>
          <a:endParaRPr lang="id-ID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</c:spPr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/>
                    <a:cs typeface="Arial"/>
                  </a:defRPr>
                </a:pPr>
                <a:endParaRPr lang="id-ID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'Data Prioritas'!$D$40:$F$40</c:f>
              <c:numCache>
                <c:formatCode>_-* #,##0_-;\-* #,##0_-;_-* "-"_-;_-@_-</c:formatCode>
                <c:ptCount val="3"/>
                <c:pt idx="0">
                  <c:v>255087</c:v>
                </c:pt>
                <c:pt idx="1">
                  <c:v>324617</c:v>
                </c:pt>
                <c:pt idx="2">
                  <c:v>7697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83273078692962299"/>
          <c:y val="0.26020038304242799"/>
          <c:w val="0.14276539134243299"/>
          <c:h val="0.44565463043889503"/>
        </c:manualLayout>
      </c:layout>
      <c:overlay val="0"/>
      <c:txPr>
        <a:bodyPr/>
        <a:lstStyle/>
        <a:p>
          <a:pPr rtl="0">
            <a:defRPr sz="1400"/>
          </a:pPr>
          <a:endParaRPr lang="id-ID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tage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d-ID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eassessed</c:v>
                </c:pt>
                <c:pt idx="1">
                  <c:v>Preparation</c:v>
                </c:pt>
                <c:pt idx="2">
                  <c:v>Transaction stage</c:v>
                </c:pt>
                <c:pt idx="3">
                  <c:v>Construction stag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9</c:v>
                </c:pt>
                <c:pt idx="2">
                  <c:v>3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8922747945222798"/>
          <c:y val="0.27873418033984598"/>
          <c:w val="0.34401460053532501"/>
          <c:h val="0.4526440386850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d-ID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d-ID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3FC2C0"/>
              </a:solidFill>
            </c:spPr>
          </c:dPt>
          <c:dPt>
            <c:idx val="1"/>
            <c:bubble3D val="0"/>
            <c:spPr>
              <a:solidFill>
                <a:srgbClr val="5D9D54"/>
              </a:solidFill>
            </c:spPr>
          </c:dPt>
          <c:dPt>
            <c:idx val="2"/>
            <c:bubble3D val="0"/>
            <c:spPr>
              <a:solidFill>
                <a:srgbClr val="F8882D"/>
              </a:solidFill>
            </c:spPr>
          </c:dPt>
          <c:dPt>
            <c:idx val="3"/>
            <c:bubble3D val="0"/>
            <c:spPr>
              <a:solidFill>
                <a:srgbClr val="13526F"/>
              </a:solidFill>
            </c:spPr>
          </c:dPt>
          <c:dPt>
            <c:idx val="4"/>
            <c:bubble3D val="0"/>
            <c:spPr>
              <a:solidFill>
                <a:srgbClr val="CABD6A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id-ID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erencanaan</c:v>
                </c:pt>
                <c:pt idx="1">
                  <c:v>Pengadaan</c:v>
                </c:pt>
                <c:pt idx="2">
                  <c:v>Kontrak belum konstruksi</c:v>
                </c:pt>
                <c:pt idx="3">
                  <c:v>Konsruksi</c:v>
                </c:pt>
                <c:pt idx="4">
                  <c:v>COD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63096138228458</c:v>
                </c:pt>
                <c:pt idx="1">
                  <c:v>0.29572376711753301</c:v>
                </c:pt>
                <c:pt idx="2">
                  <c:v>0.23741913803242901</c:v>
                </c:pt>
                <c:pt idx="3">
                  <c:v>0.28399003052451799</c:v>
                </c:pt>
                <c:pt idx="4">
                  <c:v>1.97709260970624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id-ID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4F6228"/>
              </a:solidFill>
            </c:spPr>
          </c:dPt>
          <c:dPt>
            <c:idx val="1"/>
            <c:bubble3D val="0"/>
            <c:spPr>
              <a:solidFill>
                <a:srgbClr val="9ABA5A"/>
              </a:solidFill>
            </c:spPr>
          </c:dPt>
          <c:dPt>
            <c:idx val="2"/>
            <c:bubble3D val="0"/>
            <c:spPr>
              <a:solidFill>
                <a:srgbClr val="F89646"/>
              </a:solidFill>
            </c:spPr>
          </c:dPt>
          <c:dPt>
            <c:idx val="3"/>
            <c:bubble3D val="0"/>
            <c:spPr>
              <a:solidFill>
                <a:srgbClr val="984806"/>
              </a:solidFill>
            </c:spPr>
          </c:dPt>
          <c:dPt>
            <c:idx val="4"/>
            <c:bubble3D val="0"/>
            <c:spPr>
              <a:solidFill>
                <a:srgbClr val="A6A6A6"/>
              </a:solidFill>
            </c:spPr>
          </c:dPt>
          <c:dLbls>
            <c:dLbl>
              <c:idx val="0"/>
              <c:layout>
                <c:manualLayout>
                  <c:x val="4.7350966017146799E-2"/>
                  <c:y val="-2.47141709236954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0373226325349197E-3"/>
                  <c:y val="-3.696930754932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FFFFFF"/>
                    </a:solidFill>
                  </a:defRPr>
                </a:pPr>
                <a:endParaRPr lang="id-ID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94</c:v>
                </c:pt>
                <c:pt idx="2">
                  <c:v>12</c:v>
                </c:pt>
                <c:pt idx="3">
                  <c:v>83</c:v>
                </c:pt>
                <c:pt idx="4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id-ID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66A698-9A33-2542-B8F3-55843EFC24E0}" type="doc">
      <dgm:prSet loTypeId="urn:microsoft.com/office/officeart/2008/layout/VerticalCurvedList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DE9D0C92-8ABC-F74F-920F-D906A21395C4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KPPIP </a:t>
          </a:r>
          <a:r>
            <a:rPr lang="en-US" sz="2000" b="1" dirty="0" err="1" smtClean="0"/>
            <a:t>dan</a:t>
          </a:r>
          <a:r>
            <a:rPr lang="en-US" sz="2000" b="1" dirty="0" smtClean="0"/>
            <a:t> </a:t>
          </a:r>
          <a:r>
            <a:rPr lang="en-US" sz="2000" b="1" dirty="0" err="1" smtClean="0"/>
            <a:t>Proyek</a:t>
          </a:r>
          <a:r>
            <a:rPr lang="en-US" sz="2000" b="1" dirty="0" smtClean="0"/>
            <a:t> </a:t>
          </a:r>
          <a:r>
            <a:rPr lang="en-US" sz="2000" b="1" dirty="0" err="1" smtClean="0"/>
            <a:t>Prioritas</a:t>
          </a:r>
          <a:endParaRPr lang="en-US" sz="2000" b="1" dirty="0"/>
        </a:p>
      </dgm:t>
    </dgm:pt>
    <dgm:pt modelId="{653778B8-3DA1-664D-B2BD-5BBC41DA5FFE}" type="par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10F2B927-B7E9-5842-8B00-9ADDD65AB09E}" type="sib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CF955487-83CE-2947-A52D-AAA994E1404F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genalan</a:t>
          </a:r>
          <a:r>
            <a:rPr lang="en-US" sz="2000" b="1" dirty="0" smtClean="0"/>
            <a:t> KPPIP</a:t>
          </a:r>
          <a:endParaRPr lang="en-US" sz="2000" b="1" dirty="0"/>
        </a:p>
      </dgm:t>
    </dgm:pt>
    <dgm:pt modelId="{6B9274CE-D928-D445-9DB1-239DE99CE921}" type="parTrans" cxnId="{7E1CC7A3-8352-4F47-B027-1A4D2DDC0073}">
      <dgm:prSet/>
      <dgm:spPr/>
      <dgm:t>
        <a:bodyPr/>
        <a:lstStyle/>
        <a:p>
          <a:endParaRPr lang="en-US"/>
        </a:p>
      </dgm:t>
    </dgm:pt>
    <dgm:pt modelId="{4EEC43E9-7CD5-3C42-8669-E3984B52D13D}" type="sibTrans" cxnId="{7E1CC7A3-8352-4F47-B027-1A4D2DDC0073}">
      <dgm:prSet/>
      <dgm:spPr/>
      <dgm:t>
        <a:bodyPr/>
        <a:lstStyle/>
        <a:p>
          <a:endParaRPr lang="en-US"/>
        </a:p>
      </dgm:t>
    </dgm:pt>
    <dgm:pt modelId="{C9FED763-1A91-7B40-ABE5-CBE522DE4BEB}">
      <dgm:prSet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PSN</a:t>
          </a:r>
          <a:endParaRPr lang="en-US" sz="2000" b="1" dirty="0"/>
        </a:p>
      </dgm:t>
    </dgm:pt>
    <dgm:pt modelId="{8D55B413-E279-7146-AB1F-43F975E73B46}" type="parTrans" cxnId="{EA56AF69-E954-C94C-9ED1-EDF55DE07C68}">
      <dgm:prSet/>
      <dgm:spPr/>
      <dgm:t>
        <a:bodyPr/>
        <a:lstStyle/>
        <a:p>
          <a:endParaRPr lang="en-US"/>
        </a:p>
      </dgm:t>
    </dgm:pt>
    <dgm:pt modelId="{D7C2204D-F1D7-6F43-96E3-4984BC07441C}" type="sibTrans" cxnId="{EA56AF69-E954-C94C-9ED1-EDF55DE07C68}">
      <dgm:prSet/>
      <dgm:spPr/>
      <dgm:t>
        <a:bodyPr/>
        <a:lstStyle/>
        <a:p>
          <a:endParaRPr lang="en-US"/>
        </a:p>
      </dgm:t>
    </dgm:pt>
    <dgm:pt modelId="{E918228B-6AB0-8A44-BFE9-610240C84F1B}" type="pres">
      <dgm:prSet presAssocID="{DC66A698-9A33-2542-B8F3-55843EFC24E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7B3CDA0-026D-774F-877E-21B17CE1EC62}" type="pres">
      <dgm:prSet presAssocID="{DC66A698-9A33-2542-B8F3-55843EFC24E0}" presName="Name1" presStyleCnt="0"/>
      <dgm:spPr/>
    </dgm:pt>
    <dgm:pt modelId="{F465DA46-18FE-7E40-8FD7-FB2FB8140F2C}" type="pres">
      <dgm:prSet presAssocID="{DC66A698-9A33-2542-B8F3-55843EFC24E0}" presName="cycle" presStyleCnt="0"/>
      <dgm:spPr/>
    </dgm:pt>
    <dgm:pt modelId="{2EA299A2-0519-734A-BCA6-15293F089E08}" type="pres">
      <dgm:prSet presAssocID="{DC66A698-9A33-2542-B8F3-55843EFC24E0}" presName="srcNode" presStyleLbl="node1" presStyleIdx="0" presStyleCnt="3"/>
      <dgm:spPr/>
    </dgm:pt>
    <dgm:pt modelId="{271DDA3C-1976-004B-9451-2F4C93216962}" type="pres">
      <dgm:prSet presAssocID="{DC66A698-9A33-2542-B8F3-55843EFC24E0}" presName="conn" presStyleLbl="parChTrans1D2" presStyleIdx="0" presStyleCnt="1"/>
      <dgm:spPr/>
      <dgm:t>
        <a:bodyPr/>
        <a:lstStyle/>
        <a:p>
          <a:endParaRPr lang="en-US"/>
        </a:p>
      </dgm:t>
    </dgm:pt>
    <dgm:pt modelId="{9A8107F5-F1A0-E847-887A-1B858D5B4E36}" type="pres">
      <dgm:prSet presAssocID="{DC66A698-9A33-2542-B8F3-55843EFC24E0}" presName="extraNode" presStyleLbl="node1" presStyleIdx="0" presStyleCnt="3"/>
      <dgm:spPr/>
    </dgm:pt>
    <dgm:pt modelId="{BDD9555C-6ABA-1E4B-A07C-B7517A94042A}" type="pres">
      <dgm:prSet presAssocID="{DC66A698-9A33-2542-B8F3-55843EFC24E0}" presName="dstNode" presStyleLbl="node1" presStyleIdx="0" presStyleCnt="3"/>
      <dgm:spPr/>
    </dgm:pt>
    <dgm:pt modelId="{3C84EE42-B656-A340-B35B-195FB11DE943}" type="pres">
      <dgm:prSet presAssocID="{CF955487-83CE-2947-A52D-AAA994E1404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60A11D-0BCB-5E49-AC75-7C45A862CAF7}" type="pres">
      <dgm:prSet presAssocID="{CF955487-83CE-2947-A52D-AAA994E1404F}" presName="accent_1" presStyleCnt="0"/>
      <dgm:spPr/>
    </dgm:pt>
    <dgm:pt modelId="{366AE515-1B64-EB42-8F33-61B0D255459B}" type="pres">
      <dgm:prSet presAssocID="{CF955487-83CE-2947-A52D-AAA994E1404F}" presName="accentRepeatNode" presStyleLbl="solidFgAcc1" presStyleIdx="0" presStyleCnt="3"/>
      <dgm:spPr/>
    </dgm:pt>
    <dgm:pt modelId="{F5588644-62F9-B242-B8E8-D6F94611DCBE}" type="pres">
      <dgm:prSet presAssocID="{DE9D0C92-8ABC-F74F-920F-D906A21395C4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6F453-2701-2940-A753-C8E8AB6739A7}" type="pres">
      <dgm:prSet presAssocID="{DE9D0C92-8ABC-F74F-920F-D906A21395C4}" presName="accent_2" presStyleCnt="0"/>
      <dgm:spPr/>
    </dgm:pt>
    <dgm:pt modelId="{C77964F3-13AD-EC40-ABB6-220DA7151AE4}" type="pres">
      <dgm:prSet presAssocID="{DE9D0C92-8ABC-F74F-920F-D906A21395C4}" presName="accentRepeatNode" presStyleLbl="solidFgAcc1" presStyleIdx="1" presStyleCnt="3"/>
      <dgm:spPr/>
    </dgm:pt>
    <dgm:pt modelId="{A7F1E49B-B081-074E-85E2-089A9D82AE07}" type="pres">
      <dgm:prSet presAssocID="{C9FED763-1A91-7B40-ABE5-CBE522DE4BEB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117FF9-0F36-2349-8FBE-792945C51B4E}" type="pres">
      <dgm:prSet presAssocID="{C9FED763-1A91-7B40-ABE5-CBE522DE4BEB}" presName="accent_3" presStyleCnt="0"/>
      <dgm:spPr/>
    </dgm:pt>
    <dgm:pt modelId="{39DB4C2B-9012-3B47-944D-131E421CADEE}" type="pres">
      <dgm:prSet presAssocID="{C9FED763-1A91-7B40-ABE5-CBE522DE4BEB}" presName="accentRepeatNode" presStyleLbl="solidFgAcc1" presStyleIdx="2" presStyleCnt="3"/>
      <dgm:spPr/>
    </dgm:pt>
  </dgm:ptLst>
  <dgm:cxnLst>
    <dgm:cxn modelId="{6207F3D3-7116-3C4C-8133-B38B68D7E612}" type="presOf" srcId="{DE9D0C92-8ABC-F74F-920F-D906A21395C4}" destId="{F5588644-62F9-B242-B8E8-D6F94611DCBE}" srcOrd="0" destOrd="0" presId="urn:microsoft.com/office/officeart/2008/layout/VerticalCurvedList"/>
    <dgm:cxn modelId="{EE3BC911-2D9E-9E4A-AEAE-3312ECF9C60A}" type="presOf" srcId="{4EEC43E9-7CD5-3C42-8669-E3984B52D13D}" destId="{271DDA3C-1976-004B-9451-2F4C93216962}" srcOrd="0" destOrd="0" presId="urn:microsoft.com/office/officeart/2008/layout/VerticalCurvedList"/>
    <dgm:cxn modelId="{7E1CC7A3-8352-4F47-B027-1A4D2DDC0073}" srcId="{DC66A698-9A33-2542-B8F3-55843EFC24E0}" destId="{CF955487-83CE-2947-A52D-AAA994E1404F}" srcOrd="0" destOrd="0" parTransId="{6B9274CE-D928-D445-9DB1-239DE99CE921}" sibTransId="{4EEC43E9-7CD5-3C42-8669-E3984B52D13D}"/>
    <dgm:cxn modelId="{FDF33B52-AA12-AC45-B827-3D3F604B0BC3}" srcId="{DC66A698-9A33-2542-B8F3-55843EFC24E0}" destId="{DE9D0C92-8ABC-F74F-920F-D906A21395C4}" srcOrd="1" destOrd="0" parTransId="{653778B8-3DA1-664D-B2BD-5BBC41DA5FFE}" sibTransId="{10F2B927-B7E9-5842-8B00-9ADDD65AB09E}"/>
    <dgm:cxn modelId="{15C3B34D-2099-7741-9CEA-D7C4C89259E3}" type="presOf" srcId="{DC66A698-9A33-2542-B8F3-55843EFC24E0}" destId="{E918228B-6AB0-8A44-BFE9-610240C84F1B}" srcOrd="0" destOrd="0" presId="urn:microsoft.com/office/officeart/2008/layout/VerticalCurvedList"/>
    <dgm:cxn modelId="{EA56AF69-E954-C94C-9ED1-EDF55DE07C68}" srcId="{DC66A698-9A33-2542-B8F3-55843EFC24E0}" destId="{C9FED763-1A91-7B40-ABE5-CBE522DE4BEB}" srcOrd="2" destOrd="0" parTransId="{8D55B413-E279-7146-AB1F-43F975E73B46}" sibTransId="{D7C2204D-F1D7-6F43-96E3-4984BC07441C}"/>
    <dgm:cxn modelId="{D838AF53-294B-C44E-B451-48A56DCFF55D}" type="presOf" srcId="{CF955487-83CE-2947-A52D-AAA994E1404F}" destId="{3C84EE42-B656-A340-B35B-195FB11DE943}" srcOrd="0" destOrd="0" presId="urn:microsoft.com/office/officeart/2008/layout/VerticalCurvedList"/>
    <dgm:cxn modelId="{1CAC4F78-93CD-C543-A6FE-8B2B80A87A86}" type="presOf" srcId="{C9FED763-1A91-7B40-ABE5-CBE522DE4BEB}" destId="{A7F1E49B-B081-074E-85E2-089A9D82AE07}" srcOrd="0" destOrd="0" presId="urn:microsoft.com/office/officeart/2008/layout/VerticalCurvedList"/>
    <dgm:cxn modelId="{E0F4578A-5F8A-8D4C-9BC4-0AD156118F7A}" type="presParOf" srcId="{E918228B-6AB0-8A44-BFE9-610240C84F1B}" destId="{17B3CDA0-026D-774F-877E-21B17CE1EC62}" srcOrd="0" destOrd="0" presId="urn:microsoft.com/office/officeart/2008/layout/VerticalCurvedList"/>
    <dgm:cxn modelId="{6C6E795E-2263-754C-84FA-AC13CA779396}" type="presParOf" srcId="{17B3CDA0-026D-774F-877E-21B17CE1EC62}" destId="{F465DA46-18FE-7E40-8FD7-FB2FB8140F2C}" srcOrd="0" destOrd="0" presId="urn:microsoft.com/office/officeart/2008/layout/VerticalCurvedList"/>
    <dgm:cxn modelId="{52D86314-3E2B-4841-9F48-0525202286DF}" type="presParOf" srcId="{F465DA46-18FE-7E40-8FD7-FB2FB8140F2C}" destId="{2EA299A2-0519-734A-BCA6-15293F089E08}" srcOrd="0" destOrd="0" presId="urn:microsoft.com/office/officeart/2008/layout/VerticalCurvedList"/>
    <dgm:cxn modelId="{E2EEA813-D679-4849-8F8B-5D43AF23948C}" type="presParOf" srcId="{F465DA46-18FE-7E40-8FD7-FB2FB8140F2C}" destId="{271DDA3C-1976-004B-9451-2F4C93216962}" srcOrd="1" destOrd="0" presId="urn:microsoft.com/office/officeart/2008/layout/VerticalCurvedList"/>
    <dgm:cxn modelId="{B31EF00B-9D71-714A-A742-6516B597BDE9}" type="presParOf" srcId="{F465DA46-18FE-7E40-8FD7-FB2FB8140F2C}" destId="{9A8107F5-F1A0-E847-887A-1B858D5B4E36}" srcOrd="2" destOrd="0" presId="urn:microsoft.com/office/officeart/2008/layout/VerticalCurvedList"/>
    <dgm:cxn modelId="{ADAD1E6F-FCFF-C549-A7A0-E7AF3BBB00FA}" type="presParOf" srcId="{F465DA46-18FE-7E40-8FD7-FB2FB8140F2C}" destId="{BDD9555C-6ABA-1E4B-A07C-B7517A94042A}" srcOrd="3" destOrd="0" presId="urn:microsoft.com/office/officeart/2008/layout/VerticalCurvedList"/>
    <dgm:cxn modelId="{DB8DDA46-5750-2140-B30B-624376342405}" type="presParOf" srcId="{17B3CDA0-026D-774F-877E-21B17CE1EC62}" destId="{3C84EE42-B656-A340-B35B-195FB11DE943}" srcOrd="1" destOrd="0" presId="urn:microsoft.com/office/officeart/2008/layout/VerticalCurvedList"/>
    <dgm:cxn modelId="{9D0746EE-B6C5-3441-8506-B9B77503DBE3}" type="presParOf" srcId="{17B3CDA0-026D-774F-877E-21B17CE1EC62}" destId="{3E60A11D-0BCB-5E49-AC75-7C45A862CAF7}" srcOrd="2" destOrd="0" presId="urn:microsoft.com/office/officeart/2008/layout/VerticalCurvedList"/>
    <dgm:cxn modelId="{29F73812-E74C-A049-8F9B-94F61FD4A9C8}" type="presParOf" srcId="{3E60A11D-0BCB-5E49-AC75-7C45A862CAF7}" destId="{366AE515-1B64-EB42-8F33-61B0D255459B}" srcOrd="0" destOrd="0" presId="urn:microsoft.com/office/officeart/2008/layout/VerticalCurvedList"/>
    <dgm:cxn modelId="{D3DD2F09-30A5-604A-9838-713E36D697F4}" type="presParOf" srcId="{17B3CDA0-026D-774F-877E-21B17CE1EC62}" destId="{F5588644-62F9-B242-B8E8-D6F94611DCBE}" srcOrd="3" destOrd="0" presId="urn:microsoft.com/office/officeart/2008/layout/VerticalCurvedList"/>
    <dgm:cxn modelId="{346909CC-9BF3-CB48-AB1E-FCC413CB1EB6}" type="presParOf" srcId="{17B3CDA0-026D-774F-877E-21B17CE1EC62}" destId="{AE26F453-2701-2940-A753-C8E8AB6739A7}" srcOrd="4" destOrd="0" presId="urn:microsoft.com/office/officeart/2008/layout/VerticalCurvedList"/>
    <dgm:cxn modelId="{31C83F3B-AF38-234D-9D30-405EB5AF5B33}" type="presParOf" srcId="{AE26F453-2701-2940-A753-C8E8AB6739A7}" destId="{C77964F3-13AD-EC40-ABB6-220DA7151AE4}" srcOrd="0" destOrd="0" presId="urn:microsoft.com/office/officeart/2008/layout/VerticalCurvedList"/>
    <dgm:cxn modelId="{05BFF53F-0644-7C4D-8F4E-43C1EC642C94}" type="presParOf" srcId="{17B3CDA0-026D-774F-877E-21B17CE1EC62}" destId="{A7F1E49B-B081-074E-85E2-089A9D82AE07}" srcOrd="5" destOrd="0" presId="urn:microsoft.com/office/officeart/2008/layout/VerticalCurvedList"/>
    <dgm:cxn modelId="{BC91D9EB-7C97-AB43-A38D-A83274829D7C}" type="presParOf" srcId="{17B3CDA0-026D-774F-877E-21B17CE1EC62}" destId="{8E117FF9-0F36-2349-8FBE-792945C51B4E}" srcOrd="6" destOrd="0" presId="urn:microsoft.com/office/officeart/2008/layout/VerticalCurvedList"/>
    <dgm:cxn modelId="{342D37CF-9171-6440-9371-69ED58B59F36}" type="presParOf" srcId="{8E117FF9-0F36-2349-8FBE-792945C51B4E}" destId="{39DB4C2B-9012-3B47-944D-131E421CADE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C66A698-9A33-2542-B8F3-55843EFC24E0}" type="doc">
      <dgm:prSet loTypeId="urn:microsoft.com/office/officeart/2008/layout/VerticalCurvedList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DE9D0C92-8ABC-F74F-920F-D906A21395C4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KPPIP </a:t>
          </a:r>
          <a:r>
            <a:rPr lang="en-US" sz="2000" b="1" dirty="0" err="1" smtClean="0"/>
            <a:t>dan</a:t>
          </a:r>
          <a:r>
            <a:rPr lang="en-US" sz="2000" b="1" dirty="0" smtClean="0"/>
            <a:t> </a:t>
          </a:r>
          <a:r>
            <a:rPr lang="en-US" sz="2000" b="1" dirty="0" err="1" smtClean="0"/>
            <a:t>Proyek</a:t>
          </a:r>
          <a:r>
            <a:rPr lang="en-US" sz="2000" b="1" dirty="0" smtClean="0"/>
            <a:t> </a:t>
          </a:r>
          <a:r>
            <a:rPr lang="en-US" sz="2000" b="1" dirty="0" err="1" smtClean="0"/>
            <a:t>Prioritas</a:t>
          </a:r>
          <a:endParaRPr lang="en-US" sz="2000" b="1" dirty="0"/>
        </a:p>
      </dgm:t>
    </dgm:pt>
    <dgm:pt modelId="{653778B8-3DA1-664D-B2BD-5BBC41DA5FFE}" type="par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10F2B927-B7E9-5842-8B00-9ADDD65AB09E}" type="sib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CF955487-83CE-2947-A52D-AAA994E1404F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genalan</a:t>
          </a:r>
          <a:r>
            <a:rPr lang="en-US" sz="2000" b="1" dirty="0" smtClean="0"/>
            <a:t> KPPIP</a:t>
          </a:r>
          <a:endParaRPr lang="en-US" sz="2000" b="1" dirty="0"/>
        </a:p>
      </dgm:t>
    </dgm:pt>
    <dgm:pt modelId="{6B9274CE-D928-D445-9DB1-239DE99CE921}" type="parTrans" cxnId="{7E1CC7A3-8352-4F47-B027-1A4D2DDC0073}">
      <dgm:prSet/>
      <dgm:spPr/>
      <dgm:t>
        <a:bodyPr/>
        <a:lstStyle/>
        <a:p>
          <a:endParaRPr lang="en-US"/>
        </a:p>
      </dgm:t>
    </dgm:pt>
    <dgm:pt modelId="{4EEC43E9-7CD5-3C42-8669-E3984B52D13D}" type="sibTrans" cxnId="{7E1CC7A3-8352-4F47-B027-1A4D2DDC0073}">
      <dgm:prSet/>
      <dgm:spPr/>
      <dgm:t>
        <a:bodyPr/>
        <a:lstStyle/>
        <a:p>
          <a:endParaRPr lang="en-US"/>
        </a:p>
      </dgm:t>
    </dgm:pt>
    <dgm:pt modelId="{469FD857-9EAC-134D-9D43-4538766EE965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PSN</a:t>
          </a:r>
          <a:endParaRPr lang="en-US" sz="2000" dirty="0"/>
        </a:p>
      </dgm:t>
    </dgm:pt>
    <dgm:pt modelId="{7FDE6359-6E0B-C942-97E6-F8113286E40C}" type="parTrans" cxnId="{9D560D43-C60D-224F-A33E-BA19976D8C74}">
      <dgm:prSet/>
      <dgm:spPr/>
      <dgm:t>
        <a:bodyPr/>
        <a:lstStyle/>
        <a:p>
          <a:endParaRPr lang="en-US"/>
        </a:p>
      </dgm:t>
    </dgm:pt>
    <dgm:pt modelId="{F6665FC8-EC59-6345-89FF-F7FAC4CB09E2}" type="sibTrans" cxnId="{9D560D43-C60D-224F-A33E-BA19976D8C74}">
      <dgm:prSet/>
      <dgm:spPr/>
      <dgm:t>
        <a:bodyPr/>
        <a:lstStyle/>
        <a:p>
          <a:endParaRPr lang="en-US"/>
        </a:p>
      </dgm:t>
    </dgm:pt>
    <dgm:pt modelId="{E918228B-6AB0-8A44-BFE9-610240C84F1B}" type="pres">
      <dgm:prSet presAssocID="{DC66A698-9A33-2542-B8F3-55843EFC24E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7B3CDA0-026D-774F-877E-21B17CE1EC62}" type="pres">
      <dgm:prSet presAssocID="{DC66A698-9A33-2542-B8F3-55843EFC24E0}" presName="Name1" presStyleCnt="0"/>
      <dgm:spPr/>
    </dgm:pt>
    <dgm:pt modelId="{F465DA46-18FE-7E40-8FD7-FB2FB8140F2C}" type="pres">
      <dgm:prSet presAssocID="{DC66A698-9A33-2542-B8F3-55843EFC24E0}" presName="cycle" presStyleCnt="0"/>
      <dgm:spPr/>
    </dgm:pt>
    <dgm:pt modelId="{2EA299A2-0519-734A-BCA6-15293F089E08}" type="pres">
      <dgm:prSet presAssocID="{DC66A698-9A33-2542-B8F3-55843EFC24E0}" presName="srcNode" presStyleLbl="node1" presStyleIdx="0" presStyleCnt="3"/>
      <dgm:spPr/>
    </dgm:pt>
    <dgm:pt modelId="{271DDA3C-1976-004B-9451-2F4C93216962}" type="pres">
      <dgm:prSet presAssocID="{DC66A698-9A33-2542-B8F3-55843EFC24E0}" presName="conn" presStyleLbl="parChTrans1D2" presStyleIdx="0" presStyleCnt="1"/>
      <dgm:spPr/>
      <dgm:t>
        <a:bodyPr/>
        <a:lstStyle/>
        <a:p>
          <a:endParaRPr lang="en-US"/>
        </a:p>
      </dgm:t>
    </dgm:pt>
    <dgm:pt modelId="{9A8107F5-F1A0-E847-887A-1B858D5B4E36}" type="pres">
      <dgm:prSet presAssocID="{DC66A698-9A33-2542-B8F3-55843EFC24E0}" presName="extraNode" presStyleLbl="node1" presStyleIdx="0" presStyleCnt="3"/>
      <dgm:spPr/>
    </dgm:pt>
    <dgm:pt modelId="{BDD9555C-6ABA-1E4B-A07C-B7517A94042A}" type="pres">
      <dgm:prSet presAssocID="{DC66A698-9A33-2542-B8F3-55843EFC24E0}" presName="dstNode" presStyleLbl="node1" presStyleIdx="0" presStyleCnt="3"/>
      <dgm:spPr/>
    </dgm:pt>
    <dgm:pt modelId="{3C84EE42-B656-A340-B35B-195FB11DE943}" type="pres">
      <dgm:prSet presAssocID="{CF955487-83CE-2947-A52D-AAA994E1404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60A11D-0BCB-5E49-AC75-7C45A862CAF7}" type="pres">
      <dgm:prSet presAssocID="{CF955487-83CE-2947-A52D-AAA994E1404F}" presName="accent_1" presStyleCnt="0"/>
      <dgm:spPr/>
    </dgm:pt>
    <dgm:pt modelId="{366AE515-1B64-EB42-8F33-61B0D255459B}" type="pres">
      <dgm:prSet presAssocID="{CF955487-83CE-2947-A52D-AAA994E1404F}" presName="accentRepeatNode" presStyleLbl="solidFgAcc1" presStyleIdx="0" presStyleCnt="3"/>
      <dgm:spPr/>
    </dgm:pt>
    <dgm:pt modelId="{F5588644-62F9-B242-B8E8-D6F94611DCBE}" type="pres">
      <dgm:prSet presAssocID="{DE9D0C92-8ABC-F74F-920F-D906A21395C4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6F453-2701-2940-A753-C8E8AB6739A7}" type="pres">
      <dgm:prSet presAssocID="{DE9D0C92-8ABC-F74F-920F-D906A21395C4}" presName="accent_2" presStyleCnt="0"/>
      <dgm:spPr/>
    </dgm:pt>
    <dgm:pt modelId="{C77964F3-13AD-EC40-ABB6-220DA7151AE4}" type="pres">
      <dgm:prSet presAssocID="{DE9D0C92-8ABC-F74F-920F-D906A21395C4}" presName="accentRepeatNode" presStyleLbl="solidFgAcc1" presStyleIdx="1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6081BAE0-DB07-6E40-BC12-EE96BABBC857}" type="pres">
      <dgm:prSet presAssocID="{469FD857-9EAC-134D-9D43-4538766EE96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AD346B-701E-AF41-AE1C-66A854B109EA}" type="pres">
      <dgm:prSet presAssocID="{469FD857-9EAC-134D-9D43-4538766EE965}" presName="accent_3" presStyleCnt="0"/>
      <dgm:spPr/>
    </dgm:pt>
    <dgm:pt modelId="{9B00AAD7-EB15-0844-92DB-0B7C63307E37}" type="pres">
      <dgm:prSet presAssocID="{469FD857-9EAC-134D-9D43-4538766EE965}" presName="accentRepeatNode" presStyleLbl="solidFgAcc1" presStyleIdx="2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</dgm:ptLst>
  <dgm:cxnLst>
    <dgm:cxn modelId="{DCECC126-1000-5C4D-B845-2CCF87E8AB20}" type="presOf" srcId="{CF955487-83CE-2947-A52D-AAA994E1404F}" destId="{3C84EE42-B656-A340-B35B-195FB11DE943}" srcOrd="0" destOrd="0" presId="urn:microsoft.com/office/officeart/2008/layout/VerticalCurvedList"/>
    <dgm:cxn modelId="{7E1CC7A3-8352-4F47-B027-1A4D2DDC0073}" srcId="{DC66A698-9A33-2542-B8F3-55843EFC24E0}" destId="{CF955487-83CE-2947-A52D-AAA994E1404F}" srcOrd="0" destOrd="0" parTransId="{6B9274CE-D928-D445-9DB1-239DE99CE921}" sibTransId="{4EEC43E9-7CD5-3C42-8669-E3984B52D13D}"/>
    <dgm:cxn modelId="{28C73F59-B6B7-6246-BE09-DCBC84238400}" type="presOf" srcId="{DE9D0C92-8ABC-F74F-920F-D906A21395C4}" destId="{F5588644-62F9-B242-B8E8-D6F94611DCBE}" srcOrd="0" destOrd="0" presId="urn:microsoft.com/office/officeart/2008/layout/VerticalCurvedList"/>
    <dgm:cxn modelId="{415B37BF-FCFC-EB4D-AB23-47FF87A76ED6}" type="presOf" srcId="{4EEC43E9-7CD5-3C42-8669-E3984B52D13D}" destId="{271DDA3C-1976-004B-9451-2F4C93216962}" srcOrd="0" destOrd="0" presId="urn:microsoft.com/office/officeart/2008/layout/VerticalCurvedList"/>
    <dgm:cxn modelId="{9D560D43-C60D-224F-A33E-BA19976D8C74}" srcId="{DC66A698-9A33-2542-B8F3-55843EFC24E0}" destId="{469FD857-9EAC-134D-9D43-4538766EE965}" srcOrd="2" destOrd="0" parTransId="{7FDE6359-6E0B-C942-97E6-F8113286E40C}" sibTransId="{F6665FC8-EC59-6345-89FF-F7FAC4CB09E2}"/>
    <dgm:cxn modelId="{5244273B-53FC-E644-944C-0D09EEF48C49}" type="presOf" srcId="{DC66A698-9A33-2542-B8F3-55843EFC24E0}" destId="{E918228B-6AB0-8A44-BFE9-610240C84F1B}" srcOrd="0" destOrd="0" presId="urn:microsoft.com/office/officeart/2008/layout/VerticalCurvedList"/>
    <dgm:cxn modelId="{CB18DB4A-EF41-AF4A-A6E5-ED2E1F48721A}" type="presOf" srcId="{469FD857-9EAC-134D-9D43-4538766EE965}" destId="{6081BAE0-DB07-6E40-BC12-EE96BABBC857}" srcOrd="0" destOrd="0" presId="urn:microsoft.com/office/officeart/2008/layout/VerticalCurvedList"/>
    <dgm:cxn modelId="{FDF33B52-AA12-AC45-B827-3D3F604B0BC3}" srcId="{DC66A698-9A33-2542-B8F3-55843EFC24E0}" destId="{DE9D0C92-8ABC-F74F-920F-D906A21395C4}" srcOrd="1" destOrd="0" parTransId="{653778B8-3DA1-664D-B2BD-5BBC41DA5FFE}" sibTransId="{10F2B927-B7E9-5842-8B00-9ADDD65AB09E}"/>
    <dgm:cxn modelId="{A0F8A11F-F894-CD40-80A0-76EBDBB6383D}" type="presParOf" srcId="{E918228B-6AB0-8A44-BFE9-610240C84F1B}" destId="{17B3CDA0-026D-774F-877E-21B17CE1EC62}" srcOrd="0" destOrd="0" presId="urn:microsoft.com/office/officeart/2008/layout/VerticalCurvedList"/>
    <dgm:cxn modelId="{B56CC5FC-42AC-7C47-AD8A-B43E6B3EB3A5}" type="presParOf" srcId="{17B3CDA0-026D-774F-877E-21B17CE1EC62}" destId="{F465DA46-18FE-7E40-8FD7-FB2FB8140F2C}" srcOrd="0" destOrd="0" presId="urn:microsoft.com/office/officeart/2008/layout/VerticalCurvedList"/>
    <dgm:cxn modelId="{1FB87C31-841F-064B-9B5C-4D573A992A3B}" type="presParOf" srcId="{F465DA46-18FE-7E40-8FD7-FB2FB8140F2C}" destId="{2EA299A2-0519-734A-BCA6-15293F089E08}" srcOrd="0" destOrd="0" presId="urn:microsoft.com/office/officeart/2008/layout/VerticalCurvedList"/>
    <dgm:cxn modelId="{CD370A2A-5547-2646-8430-B94075D07AD2}" type="presParOf" srcId="{F465DA46-18FE-7E40-8FD7-FB2FB8140F2C}" destId="{271DDA3C-1976-004B-9451-2F4C93216962}" srcOrd="1" destOrd="0" presId="urn:microsoft.com/office/officeart/2008/layout/VerticalCurvedList"/>
    <dgm:cxn modelId="{8DA02B22-511F-E54B-900E-152EFD27E47C}" type="presParOf" srcId="{F465DA46-18FE-7E40-8FD7-FB2FB8140F2C}" destId="{9A8107F5-F1A0-E847-887A-1B858D5B4E36}" srcOrd="2" destOrd="0" presId="urn:microsoft.com/office/officeart/2008/layout/VerticalCurvedList"/>
    <dgm:cxn modelId="{C105058C-6F86-7946-9C64-C7D4A8188B0D}" type="presParOf" srcId="{F465DA46-18FE-7E40-8FD7-FB2FB8140F2C}" destId="{BDD9555C-6ABA-1E4B-A07C-B7517A94042A}" srcOrd="3" destOrd="0" presId="urn:microsoft.com/office/officeart/2008/layout/VerticalCurvedList"/>
    <dgm:cxn modelId="{EAC32F44-26DA-1C40-B9A0-22B324F6E4C4}" type="presParOf" srcId="{17B3CDA0-026D-774F-877E-21B17CE1EC62}" destId="{3C84EE42-B656-A340-B35B-195FB11DE943}" srcOrd="1" destOrd="0" presId="urn:microsoft.com/office/officeart/2008/layout/VerticalCurvedList"/>
    <dgm:cxn modelId="{CED1C514-57D0-2B48-8F31-A18B25869B8F}" type="presParOf" srcId="{17B3CDA0-026D-774F-877E-21B17CE1EC62}" destId="{3E60A11D-0BCB-5E49-AC75-7C45A862CAF7}" srcOrd="2" destOrd="0" presId="urn:microsoft.com/office/officeart/2008/layout/VerticalCurvedList"/>
    <dgm:cxn modelId="{948F62EC-591B-6F45-9833-42D3A3AB98FA}" type="presParOf" srcId="{3E60A11D-0BCB-5E49-AC75-7C45A862CAF7}" destId="{366AE515-1B64-EB42-8F33-61B0D255459B}" srcOrd="0" destOrd="0" presId="urn:microsoft.com/office/officeart/2008/layout/VerticalCurvedList"/>
    <dgm:cxn modelId="{98D1E025-0FE4-1D4A-A078-8533EF75A97D}" type="presParOf" srcId="{17B3CDA0-026D-774F-877E-21B17CE1EC62}" destId="{F5588644-62F9-B242-B8E8-D6F94611DCBE}" srcOrd="3" destOrd="0" presId="urn:microsoft.com/office/officeart/2008/layout/VerticalCurvedList"/>
    <dgm:cxn modelId="{0FD3F34E-72BF-7B43-8549-94D122BFAC33}" type="presParOf" srcId="{17B3CDA0-026D-774F-877E-21B17CE1EC62}" destId="{AE26F453-2701-2940-A753-C8E8AB6739A7}" srcOrd="4" destOrd="0" presId="urn:microsoft.com/office/officeart/2008/layout/VerticalCurvedList"/>
    <dgm:cxn modelId="{0E8424D0-6F6B-2241-B6F9-A1AD0336B872}" type="presParOf" srcId="{AE26F453-2701-2940-A753-C8E8AB6739A7}" destId="{C77964F3-13AD-EC40-ABB6-220DA7151AE4}" srcOrd="0" destOrd="0" presId="urn:microsoft.com/office/officeart/2008/layout/VerticalCurvedList"/>
    <dgm:cxn modelId="{06DDAEE8-B43E-9E48-8966-64F33BC6DD6C}" type="presParOf" srcId="{17B3CDA0-026D-774F-877E-21B17CE1EC62}" destId="{6081BAE0-DB07-6E40-BC12-EE96BABBC857}" srcOrd="5" destOrd="0" presId="urn:microsoft.com/office/officeart/2008/layout/VerticalCurvedList"/>
    <dgm:cxn modelId="{FB29FF4D-F9D7-8043-9F38-2D27457151B2}" type="presParOf" srcId="{17B3CDA0-026D-774F-877E-21B17CE1EC62}" destId="{AFAD346B-701E-AF41-AE1C-66A854B109EA}" srcOrd="6" destOrd="0" presId="urn:microsoft.com/office/officeart/2008/layout/VerticalCurvedList"/>
    <dgm:cxn modelId="{3F22F54F-2D75-AA48-B595-47E2F33070FD}" type="presParOf" srcId="{AFAD346B-701E-AF41-AE1C-66A854B109EA}" destId="{9B00AAD7-EB15-0844-92DB-0B7C63307E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C66A698-9A33-2542-B8F3-55843EFC24E0}" type="doc">
      <dgm:prSet loTypeId="urn:microsoft.com/office/officeart/2008/layout/VerticalCurvedList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DE9D0C92-8ABC-F74F-920F-D906A21395C4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KPPIP </a:t>
          </a:r>
          <a:r>
            <a:rPr lang="en-US" sz="2000" b="1" dirty="0" err="1" smtClean="0"/>
            <a:t>dan</a:t>
          </a:r>
          <a:r>
            <a:rPr lang="en-US" sz="2000" b="1" dirty="0" smtClean="0"/>
            <a:t> </a:t>
          </a:r>
          <a:r>
            <a:rPr lang="en-US" sz="2000" b="1" dirty="0" err="1" smtClean="0"/>
            <a:t>Proyek</a:t>
          </a:r>
          <a:r>
            <a:rPr lang="en-US" sz="2000" b="1" dirty="0" smtClean="0"/>
            <a:t> </a:t>
          </a:r>
          <a:r>
            <a:rPr lang="en-US" sz="2000" b="1" dirty="0" err="1" smtClean="0"/>
            <a:t>Prioritas</a:t>
          </a:r>
          <a:endParaRPr lang="en-US" sz="2000" b="1" dirty="0"/>
        </a:p>
      </dgm:t>
    </dgm:pt>
    <dgm:pt modelId="{653778B8-3DA1-664D-B2BD-5BBC41DA5FFE}" type="par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10F2B927-B7E9-5842-8B00-9ADDD65AB09E}" type="sib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CF955487-83CE-2947-A52D-AAA994E1404F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genalan</a:t>
          </a:r>
          <a:r>
            <a:rPr lang="en-US" sz="2000" b="1" dirty="0" smtClean="0"/>
            <a:t> KPPIP</a:t>
          </a:r>
          <a:endParaRPr lang="en-US" sz="2000" b="1" dirty="0"/>
        </a:p>
      </dgm:t>
    </dgm:pt>
    <dgm:pt modelId="{6B9274CE-D928-D445-9DB1-239DE99CE921}" type="parTrans" cxnId="{7E1CC7A3-8352-4F47-B027-1A4D2DDC0073}">
      <dgm:prSet/>
      <dgm:spPr/>
      <dgm:t>
        <a:bodyPr/>
        <a:lstStyle/>
        <a:p>
          <a:endParaRPr lang="en-US"/>
        </a:p>
      </dgm:t>
    </dgm:pt>
    <dgm:pt modelId="{4EEC43E9-7CD5-3C42-8669-E3984B52D13D}" type="sibTrans" cxnId="{7E1CC7A3-8352-4F47-B027-1A4D2DDC0073}">
      <dgm:prSet/>
      <dgm:spPr/>
      <dgm:t>
        <a:bodyPr/>
        <a:lstStyle/>
        <a:p>
          <a:endParaRPr lang="en-US"/>
        </a:p>
      </dgm:t>
    </dgm:pt>
    <dgm:pt modelId="{469FD857-9EAC-134D-9D43-4538766EE965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PSN</a:t>
          </a:r>
          <a:endParaRPr lang="en-US" sz="2000" dirty="0"/>
        </a:p>
      </dgm:t>
    </dgm:pt>
    <dgm:pt modelId="{7FDE6359-6E0B-C942-97E6-F8113286E40C}" type="parTrans" cxnId="{9D560D43-C60D-224F-A33E-BA19976D8C74}">
      <dgm:prSet/>
      <dgm:spPr/>
      <dgm:t>
        <a:bodyPr/>
        <a:lstStyle/>
        <a:p>
          <a:endParaRPr lang="en-US"/>
        </a:p>
      </dgm:t>
    </dgm:pt>
    <dgm:pt modelId="{F6665FC8-EC59-6345-89FF-F7FAC4CB09E2}" type="sibTrans" cxnId="{9D560D43-C60D-224F-A33E-BA19976D8C74}">
      <dgm:prSet/>
      <dgm:spPr/>
      <dgm:t>
        <a:bodyPr/>
        <a:lstStyle/>
        <a:p>
          <a:endParaRPr lang="en-US"/>
        </a:p>
      </dgm:t>
    </dgm:pt>
    <dgm:pt modelId="{E918228B-6AB0-8A44-BFE9-610240C84F1B}" type="pres">
      <dgm:prSet presAssocID="{DC66A698-9A33-2542-B8F3-55843EFC24E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7B3CDA0-026D-774F-877E-21B17CE1EC62}" type="pres">
      <dgm:prSet presAssocID="{DC66A698-9A33-2542-B8F3-55843EFC24E0}" presName="Name1" presStyleCnt="0"/>
      <dgm:spPr/>
    </dgm:pt>
    <dgm:pt modelId="{F465DA46-18FE-7E40-8FD7-FB2FB8140F2C}" type="pres">
      <dgm:prSet presAssocID="{DC66A698-9A33-2542-B8F3-55843EFC24E0}" presName="cycle" presStyleCnt="0"/>
      <dgm:spPr/>
    </dgm:pt>
    <dgm:pt modelId="{2EA299A2-0519-734A-BCA6-15293F089E08}" type="pres">
      <dgm:prSet presAssocID="{DC66A698-9A33-2542-B8F3-55843EFC24E0}" presName="srcNode" presStyleLbl="node1" presStyleIdx="0" presStyleCnt="3"/>
      <dgm:spPr/>
    </dgm:pt>
    <dgm:pt modelId="{271DDA3C-1976-004B-9451-2F4C93216962}" type="pres">
      <dgm:prSet presAssocID="{DC66A698-9A33-2542-B8F3-55843EFC24E0}" presName="conn" presStyleLbl="parChTrans1D2" presStyleIdx="0" presStyleCnt="1"/>
      <dgm:spPr/>
      <dgm:t>
        <a:bodyPr/>
        <a:lstStyle/>
        <a:p>
          <a:endParaRPr lang="en-US"/>
        </a:p>
      </dgm:t>
    </dgm:pt>
    <dgm:pt modelId="{9A8107F5-F1A0-E847-887A-1B858D5B4E36}" type="pres">
      <dgm:prSet presAssocID="{DC66A698-9A33-2542-B8F3-55843EFC24E0}" presName="extraNode" presStyleLbl="node1" presStyleIdx="0" presStyleCnt="3"/>
      <dgm:spPr/>
    </dgm:pt>
    <dgm:pt modelId="{BDD9555C-6ABA-1E4B-A07C-B7517A94042A}" type="pres">
      <dgm:prSet presAssocID="{DC66A698-9A33-2542-B8F3-55843EFC24E0}" presName="dstNode" presStyleLbl="node1" presStyleIdx="0" presStyleCnt="3"/>
      <dgm:spPr/>
    </dgm:pt>
    <dgm:pt modelId="{3C84EE42-B656-A340-B35B-195FB11DE943}" type="pres">
      <dgm:prSet presAssocID="{CF955487-83CE-2947-A52D-AAA994E1404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60A11D-0BCB-5E49-AC75-7C45A862CAF7}" type="pres">
      <dgm:prSet presAssocID="{CF955487-83CE-2947-A52D-AAA994E1404F}" presName="accent_1" presStyleCnt="0"/>
      <dgm:spPr/>
    </dgm:pt>
    <dgm:pt modelId="{366AE515-1B64-EB42-8F33-61B0D255459B}" type="pres">
      <dgm:prSet presAssocID="{CF955487-83CE-2947-A52D-AAA994E1404F}" presName="accentRepeatNode" presStyleLbl="solidFgAcc1" presStyleIdx="0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F5588644-62F9-B242-B8E8-D6F94611DCBE}" type="pres">
      <dgm:prSet presAssocID="{DE9D0C92-8ABC-F74F-920F-D906A21395C4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6F453-2701-2940-A753-C8E8AB6739A7}" type="pres">
      <dgm:prSet presAssocID="{DE9D0C92-8ABC-F74F-920F-D906A21395C4}" presName="accent_2" presStyleCnt="0"/>
      <dgm:spPr/>
    </dgm:pt>
    <dgm:pt modelId="{C77964F3-13AD-EC40-ABB6-220DA7151AE4}" type="pres">
      <dgm:prSet presAssocID="{DE9D0C92-8ABC-F74F-920F-D906A21395C4}" presName="accentRepeatNode" presStyleLbl="solidFgAcc1" presStyleIdx="1" presStyleCnt="3"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/>
        </a:p>
      </dgm:t>
    </dgm:pt>
    <dgm:pt modelId="{6081BAE0-DB07-6E40-BC12-EE96BABBC857}" type="pres">
      <dgm:prSet presAssocID="{469FD857-9EAC-134D-9D43-4538766EE96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AD346B-701E-AF41-AE1C-66A854B109EA}" type="pres">
      <dgm:prSet presAssocID="{469FD857-9EAC-134D-9D43-4538766EE965}" presName="accent_3" presStyleCnt="0"/>
      <dgm:spPr/>
    </dgm:pt>
    <dgm:pt modelId="{9B00AAD7-EB15-0844-92DB-0B7C63307E37}" type="pres">
      <dgm:prSet presAssocID="{469FD857-9EAC-134D-9D43-4538766EE965}" presName="accentRepeatNode" presStyleLbl="solidFgAcc1" presStyleIdx="2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</dgm:ptLst>
  <dgm:cxnLst>
    <dgm:cxn modelId="{F8205C20-FF3F-B44B-9458-D40530942B7F}" type="presOf" srcId="{CF955487-83CE-2947-A52D-AAA994E1404F}" destId="{3C84EE42-B656-A340-B35B-195FB11DE943}" srcOrd="0" destOrd="0" presId="urn:microsoft.com/office/officeart/2008/layout/VerticalCurvedList"/>
    <dgm:cxn modelId="{4CA8C807-636D-F648-A6D8-F0943DC8E053}" type="presOf" srcId="{DC66A698-9A33-2542-B8F3-55843EFC24E0}" destId="{E918228B-6AB0-8A44-BFE9-610240C84F1B}" srcOrd="0" destOrd="0" presId="urn:microsoft.com/office/officeart/2008/layout/VerticalCurvedList"/>
    <dgm:cxn modelId="{0E30B256-658D-EE44-A570-60425E59E3F9}" type="presOf" srcId="{4EEC43E9-7CD5-3C42-8669-E3984B52D13D}" destId="{271DDA3C-1976-004B-9451-2F4C93216962}" srcOrd="0" destOrd="0" presId="urn:microsoft.com/office/officeart/2008/layout/VerticalCurvedList"/>
    <dgm:cxn modelId="{7E1CC7A3-8352-4F47-B027-1A4D2DDC0073}" srcId="{DC66A698-9A33-2542-B8F3-55843EFC24E0}" destId="{CF955487-83CE-2947-A52D-AAA994E1404F}" srcOrd="0" destOrd="0" parTransId="{6B9274CE-D928-D445-9DB1-239DE99CE921}" sibTransId="{4EEC43E9-7CD5-3C42-8669-E3984B52D13D}"/>
    <dgm:cxn modelId="{FDF33B52-AA12-AC45-B827-3D3F604B0BC3}" srcId="{DC66A698-9A33-2542-B8F3-55843EFC24E0}" destId="{DE9D0C92-8ABC-F74F-920F-D906A21395C4}" srcOrd="1" destOrd="0" parTransId="{653778B8-3DA1-664D-B2BD-5BBC41DA5FFE}" sibTransId="{10F2B927-B7E9-5842-8B00-9ADDD65AB09E}"/>
    <dgm:cxn modelId="{9D560D43-C60D-224F-A33E-BA19976D8C74}" srcId="{DC66A698-9A33-2542-B8F3-55843EFC24E0}" destId="{469FD857-9EAC-134D-9D43-4538766EE965}" srcOrd="2" destOrd="0" parTransId="{7FDE6359-6E0B-C942-97E6-F8113286E40C}" sibTransId="{F6665FC8-EC59-6345-89FF-F7FAC4CB09E2}"/>
    <dgm:cxn modelId="{E9A30B42-21D7-AB48-8633-90581A7FEF0F}" type="presOf" srcId="{DE9D0C92-8ABC-F74F-920F-D906A21395C4}" destId="{F5588644-62F9-B242-B8E8-D6F94611DCBE}" srcOrd="0" destOrd="0" presId="urn:microsoft.com/office/officeart/2008/layout/VerticalCurvedList"/>
    <dgm:cxn modelId="{43155793-1CF9-9449-9F26-66A48CECDB0C}" type="presOf" srcId="{469FD857-9EAC-134D-9D43-4538766EE965}" destId="{6081BAE0-DB07-6E40-BC12-EE96BABBC857}" srcOrd="0" destOrd="0" presId="urn:microsoft.com/office/officeart/2008/layout/VerticalCurvedList"/>
    <dgm:cxn modelId="{5315707D-F566-2945-8C78-1E037410315E}" type="presParOf" srcId="{E918228B-6AB0-8A44-BFE9-610240C84F1B}" destId="{17B3CDA0-026D-774F-877E-21B17CE1EC62}" srcOrd="0" destOrd="0" presId="urn:microsoft.com/office/officeart/2008/layout/VerticalCurvedList"/>
    <dgm:cxn modelId="{433365C3-A135-4240-ABED-C2C7BA063BFE}" type="presParOf" srcId="{17B3CDA0-026D-774F-877E-21B17CE1EC62}" destId="{F465DA46-18FE-7E40-8FD7-FB2FB8140F2C}" srcOrd="0" destOrd="0" presId="urn:microsoft.com/office/officeart/2008/layout/VerticalCurvedList"/>
    <dgm:cxn modelId="{CD19DAB3-BB21-A348-9052-47E5E53C9426}" type="presParOf" srcId="{F465DA46-18FE-7E40-8FD7-FB2FB8140F2C}" destId="{2EA299A2-0519-734A-BCA6-15293F089E08}" srcOrd="0" destOrd="0" presId="urn:microsoft.com/office/officeart/2008/layout/VerticalCurvedList"/>
    <dgm:cxn modelId="{340F1672-6E83-4147-9F31-54CB3731FBD7}" type="presParOf" srcId="{F465DA46-18FE-7E40-8FD7-FB2FB8140F2C}" destId="{271DDA3C-1976-004B-9451-2F4C93216962}" srcOrd="1" destOrd="0" presId="urn:microsoft.com/office/officeart/2008/layout/VerticalCurvedList"/>
    <dgm:cxn modelId="{1265D8F8-3395-1C42-9CC8-66A472D7712D}" type="presParOf" srcId="{F465DA46-18FE-7E40-8FD7-FB2FB8140F2C}" destId="{9A8107F5-F1A0-E847-887A-1B858D5B4E36}" srcOrd="2" destOrd="0" presId="urn:microsoft.com/office/officeart/2008/layout/VerticalCurvedList"/>
    <dgm:cxn modelId="{E7ADC978-D02D-AC45-8C62-61ED125F4279}" type="presParOf" srcId="{F465DA46-18FE-7E40-8FD7-FB2FB8140F2C}" destId="{BDD9555C-6ABA-1E4B-A07C-B7517A94042A}" srcOrd="3" destOrd="0" presId="urn:microsoft.com/office/officeart/2008/layout/VerticalCurvedList"/>
    <dgm:cxn modelId="{575F0D56-FFD3-E641-8EA6-88F6F49E8587}" type="presParOf" srcId="{17B3CDA0-026D-774F-877E-21B17CE1EC62}" destId="{3C84EE42-B656-A340-B35B-195FB11DE943}" srcOrd="1" destOrd="0" presId="urn:microsoft.com/office/officeart/2008/layout/VerticalCurvedList"/>
    <dgm:cxn modelId="{830C17A7-549F-FB49-AB47-667D4C311DFA}" type="presParOf" srcId="{17B3CDA0-026D-774F-877E-21B17CE1EC62}" destId="{3E60A11D-0BCB-5E49-AC75-7C45A862CAF7}" srcOrd="2" destOrd="0" presId="urn:microsoft.com/office/officeart/2008/layout/VerticalCurvedList"/>
    <dgm:cxn modelId="{B0C3443F-F3A5-CF49-AF15-E0F6FE7D0294}" type="presParOf" srcId="{3E60A11D-0BCB-5E49-AC75-7C45A862CAF7}" destId="{366AE515-1B64-EB42-8F33-61B0D255459B}" srcOrd="0" destOrd="0" presId="urn:microsoft.com/office/officeart/2008/layout/VerticalCurvedList"/>
    <dgm:cxn modelId="{BDB37DD0-D3F9-0947-A008-44FCF553E53F}" type="presParOf" srcId="{17B3CDA0-026D-774F-877E-21B17CE1EC62}" destId="{F5588644-62F9-B242-B8E8-D6F94611DCBE}" srcOrd="3" destOrd="0" presId="urn:microsoft.com/office/officeart/2008/layout/VerticalCurvedList"/>
    <dgm:cxn modelId="{063FDD82-02CE-A04A-A137-8E97CEC6DAD1}" type="presParOf" srcId="{17B3CDA0-026D-774F-877E-21B17CE1EC62}" destId="{AE26F453-2701-2940-A753-C8E8AB6739A7}" srcOrd="4" destOrd="0" presId="urn:microsoft.com/office/officeart/2008/layout/VerticalCurvedList"/>
    <dgm:cxn modelId="{A874C93E-9A13-FE4A-99A5-53F354EBA755}" type="presParOf" srcId="{AE26F453-2701-2940-A753-C8E8AB6739A7}" destId="{C77964F3-13AD-EC40-ABB6-220DA7151AE4}" srcOrd="0" destOrd="0" presId="urn:microsoft.com/office/officeart/2008/layout/VerticalCurvedList"/>
    <dgm:cxn modelId="{4F22AFA4-8511-E545-8D64-078E7FBDFA65}" type="presParOf" srcId="{17B3CDA0-026D-774F-877E-21B17CE1EC62}" destId="{6081BAE0-DB07-6E40-BC12-EE96BABBC857}" srcOrd="5" destOrd="0" presId="urn:microsoft.com/office/officeart/2008/layout/VerticalCurvedList"/>
    <dgm:cxn modelId="{AE6C07A8-0975-B642-83D5-9EBA2F411A9B}" type="presParOf" srcId="{17B3CDA0-026D-774F-877E-21B17CE1EC62}" destId="{AFAD346B-701E-AF41-AE1C-66A854B109EA}" srcOrd="6" destOrd="0" presId="urn:microsoft.com/office/officeart/2008/layout/VerticalCurvedList"/>
    <dgm:cxn modelId="{A209C7B1-FF2D-F74B-B040-848F539AD47E}" type="presParOf" srcId="{AFAD346B-701E-AF41-AE1C-66A854B109EA}" destId="{9B00AAD7-EB15-0844-92DB-0B7C63307E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C66A698-9A33-2542-B8F3-55843EFC24E0}" type="doc">
      <dgm:prSet loTypeId="urn:microsoft.com/office/officeart/2008/layout/VerticalCurvedList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DE9D0C92-8ABC-F74F-920F-D906A21395C4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KPPIP </a:t>
          </a:r>
          <a:r>
            <a:rPr lang="en-US" sz="2000" b="1" dirty="0" err="1" smtClean="0"/>
            <a:t>dan</a:t>
          </a:r>
          <a:r>
            <a:rPr lang="en-US" sz="2000" b="1" dirty="0" smtClean="0"/>
            <a:t> </a:t>
          </a:r>
          <a:r>
            <a:rPr lang="en-US" sz="2000" b="1" dirty="0" err="1" smtClean="0"/>
            <a:t>Proyek</a:t>
          </a:r>
          <a:r>
            <a:rPr lang="en-US" sz="2000" b="1" dirty="0" smtClean="0"/>
            <a:t> </a:t>
          </a:r>
          <a:r>
            <a:rPr lang="en-US" sz="2000" b="1" dirty="0" err="1" smtClean="0"/>
            <a:t>Prioritas</a:t>
          </a:r>
          <a:endParaRPr lang="en-US" sz="2000" b="1" dirty="0"/>
        </a:p>
      </dgm:t>
    </dgm:pt>
    <dgm:pt modelId="{653778B8-3DA1-664D-B2BD-5BBC41DA5FFE}" type="par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10F2B927-B7E9-5842-8B00-9ADDD65AB09E}" type="sibTrans" cxnId="{FDF33B52-AA12-AC45-B827-3D3F604B0BC3}">
      <dgm:prSet/>
      <dgm:spPr/>
      <dgm:t>
        <a:bodyPr/>
        <a:lstStyle/>
        <a:p>
          <a:endParaRPr lang="en-US" sz="2000" b="1"/>
        </a:p>
      </dgm:t>
    </dgm:pt>
    <dgm:pt modelId="{CF955487-83CE-2947-A52D-AAA994E1404F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2000" b="1" dirty="0" err="1" smtClean="0"/>
            <a:t>Pengenalan</a:t>
          </a:r>
          <a:r>
            <a:rPr lang="en-US" sz="2000" b="1" dirty="0" smtClean="0"/>
            <a:t> KPPIP</a:t>
          </a:r>
          <a:endParaRPr lang="en-US" sz="2000" b="1" dirty="0"/>
        </a:p>
      </dgm:t>
    </dgm:pt>
    <dgm:pt modelId="{6B9274CE-D928-D445-9DB1-239DE99CE921}" type="parTrans" cxnId="{7E1CC7A3-8352-4F47-B027-1A4D2DDC0073}">
      <dgm:prSet/>
      <dgm:spPr/>
      <dgm:t>
        <a:bodyPr/>
        <a:lstStyle/>
        <a:p>
          <a:endParaRPr lang="en-US"/>
        </a:p>
      </dgm:t>
    </dgm:pt>
    <dgm:pt modelId="{4EEC43E9-7CD5-3C42-8669-E3984B52D13D}" type="sibTrans" cxnId="{7E1CC7A3-8352-4F47-B027-1A4D2DDC0073}">
      <dgm:prSet/>
      <dgm:spPr/>
      <dgm:t>
        <a:bodyPr/>
        <a:lstStyle/>
        <a:p>
          <a:endParaRPr lang="en-US"/>
        </a:p>
      </dgm:t>
    </dgm:pt>
    <dgm:pt modelId="{469FD857-9EAC-134D-9D43-4538766EE965}">
      <dgm:prSet custT="1"/>
      <dgm:spPr>
        <a:solidFill>
          <a:schemeClr val="accent6"/>
        </a:solidFill>
      </dgm:spPr>
      <dgm:t>
        <a:bodyPr/>
        <a:lstStyle/>
        <a:p>
          <a:r>
            <a:rPr lang="en-US" sz="2000" b="1" dirty="0" err="1" smtClean="0"/>
            <a:t>Pencapaian</a:t>
          </a:r>
          <a:r>
            <a:rPr lang="en-US" sz="2000" b="1" dirty="0" smtClean="0"/>
            <a:t> PSN</a:t>
          </a:r>
          <a:endParaRPr lang="en-US" sz="2000" dirty="0"/>
        </a:p>
      </dgm:t>
    </dgm:pt>
    <dgm:pt modelId="{7FDE6359-6E0B-C942-97E6-F8113286E40C}" type="parTrans" cxnId="{9D560D43-C60D-224F-A33E-BA19976D8C74}">
      <dgm:prSet/>
      <dgm:spPr/>
      <dgm:t>
        <a:bodyPr/>
        <a:lstStyle/>
        <a:p>
          <a:endParaRPr lang="en-US"/>
        </a:p>
      </dgm:t>
    </dgm:pt>
    <dgm:pt modelId="{F6665FC8-EC59-6345-89FF-F7FAC4CB09E2}" type="sibTrans" cxnId="{9D560D43-C60D-224F-A33E-BA19976D8C74}">
      <dgm:prSet/>
      <dgm:spPr/>
      <dgm:t>
        <a:bodyPr/>
        <a:lstStyle/>
        <a:p>
          <a:endParaRPr lang="en-US"/>
        </a:p>
      </dgm:t>
    </dgm:pt>
    <dgm:pt modelId="{E918228B-6AB0-8A44-BFE9-610240C84F1B}" type="pres">
      <dgm:prSet presAssocID="{DC66A698-9A33-2542-B8F3-55843EFC24E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7B3CDA0-026D-774F-877E-21B17CE1EC62}" type="pres">
      <dgm:prSet presAssocID="{DC66A698-9A33-2542-B8F3-55843EFC24E0}" presName="Name1" presStyleCnt="0"/>
      <dgm:spPr/>
    </dgm:pt>
    <dgm:pt modelId="{F465DA46-18FE-7E40-8FD7-FB2FB8140F2C}" type="pres">
      <dgm:prSet presAssocID="{DC66A698-9A33-2542-B8F3-55843EFC24E0}" presName="cycle" presStyleCnt="0"/>
      <dgm:spPr/>
    </dgm:pt>
    <dgm:pt modelId="{2EA299A2-0519-734A-BCA6-15293F089E08}" type="pres">
      <dgm:prSet presAssocID="{DC66A698-9A33-2542-B8F3-55843EFC24E0}" presName="srcNode" presStyleLbl="node1" presStyleIdx="0" presStyleCnt="3"/>
      <dgm:spPr/>
    </dgm:pt>
    <dgm:pt modelId="{271DDA3C-1976-004B-9451-2F4C93216962}" type="pres">
      <dgm:prSet presAssocID="{DC66A698-9A33-2542-B8F3-55843EFC24E0}" presName="conn" presStyleLbl="parChTrans1D2" presStyleIdx="0" presStyleCnt="1"/>
      <dgm:spPr/>
      <dgm:t>
        <a:bodyPr/>
        <a:lstStyle/>
        <a:p>
          <a:endParaRPr lang="en-US"/>
        </a:p>
      </dgm:t>
    </dgm:pt>
    <dgm:pt modelId="{9A8107F5-F1A0-E847-887A-1B858D5B4E36}" type="pres">
      <dgm:prSet presAssocID="{DC66A698-9A33-2542-B8F3-55843EFC24E0}" presName="extraNode" presStyleLbl="node1" presStyleIdx="0" presStyleCnt="3"/>
      <dgm:spPr/>
    </dgm:pt>
    <dgm:pt modelId="{BDD9555C-6ABA-1E4B-A07C-B7517A94042A}" type="pres">
      <dgm:prSet presAssocID="{DC66A698-9A33-2542-B8F3-55843EFC24E0}" presName="dstNode" presStyleLbl="node1" presStyleIdx="0" presStyleCnt="3"/>
      <dgm:spPr/>
    </dgm:pt>
    <dgm:pt modelId="{3C84EE42-B656-A340-B35B-195FB11DE943}" type="pres">
      <dgm:prSet presAssocID="{CF955487-83CE-2947-A52D-AAA994E1404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60A11D-0BCB-5E49-AC75-7C45A862CAF7}" type="pres">
      <dgm:prSet presAssocID="{CF955487-83CE-2947-A52D-AAA994E1404F}" presName="accent_1" presStyleCnt="0"/>
      <dgm:spPr/>
    </dgm:pt>
    <dgm:pt modelId="{366AE515-1B64-EB42-8F33-61B0D255459B}" type="pres">
      <dgm:prSet presAssocID="{CF955487-83CE-2947-A52D-AAA994E1404F}" presName="accentRepeatNode" presStyleLbl="solidFgAcc1" presStyleIdx="0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F5588644-62F9-B242-B8E8-D6F94611DCBE}" type="pres">
      <dgm:prSet presAssocID="{DE9D0C92-8ABC-F74F-920F-D906A21395C4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6F453-2701-2940-A753-C8E8AB6739A7}" type="pres">
      <dgm:prSet presAssocID="{DE9D0C92-8ABC-F74F-920F-D906A21395C4}" presName="accent_2" presStyleCnt="0"/>
      <dgm:spPr/>
    </dgm:pt>
    <dgm:pt modelId="{C77964F3-13AD-EC40-ABB6-220DA7151AE4}" type="pres">
      <dgm:prSet presAssocID="{DE9D0C92-8ABC-F74F-920F-D906A21395C4}" presName="accentRepeatNode" presStyleLbl="solidFgAcc1" presStyleIdx="1" presStyleCnt="3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6081BAE0-DB07-6E40-BC12-EE96BABBC857}" type="pres">
      <dgm:prSet presAssocID="{469FD857-9EAC-134D-9D43-4538766EE96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AD346B-701E-AF41-AE1C-66A854B109EA}" type="pres">
      <dgm:prSet presAssocID="{469FD857-9EAC-134D-9D43-4538766EE965}" presName="accent_3" presStyleCnt="0"/>
      <dgm:spPr/>
    </dgm:pt>
    <dgm:pt modelId="{9B00AAD7-EB15-0844-92DB-0B7C63307E37}" type="pres">
      <dgm:prSet presAssocID="{469FD857-9EAC-134D-9D43-4538766EE965}" presName="accentRepeatNode" presStyleLbl="solidFgAcc1" presStyleIdx="2" presStyleCnt="3"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/>
        </a:p>
      </dgm:t>
    </dgm:pt>
  </dgm:ptLst>
  <dgm:cxnLst>
    <dgm:cxn modelId="{922601CC-631B-A843-8323-FA7830D29EC5}" type="presOf" srcId="{CF955487-83CE-2947-A52D-AAA994E1404F}" destId="{3C84EE42-B656-A340-B35B-195FB11DE943}" srcOrd="0" destOrd="0" presId="urn:microsoft.com/office/officeart/2008/layout/VerticalCurvedList"/>
    <dgm:cxn modelId="{DD4991BE-7038-674C-9253-609476D58835}" type="presOf" srcId="{469FD857-9EAC-134D-9D43-4538766EE965}" destId="{6081BAE0-DB07-6E40-BC12-EE96BABBC857}" srcOrd="0" destOrd="0" presId="urn:microsoft.com/office/officeart/2008/layout/VerticalCurvedList"/>
    <dgm:cxn modelId="{356E9BE2-A30E-0545-BC0B-3B7627C92962}" type="presOf" srcId="{4EEC43E9-7CD5-3C42-8669-E3984B52D13D}" destId="{271DDA3C-1976-004B-9451-2F4C93216962}" srcOrd="0" destOrd="0" presId="urn:microsoft.com/office/officeart/2008/layout/VerticalCurvedList"/>
    <dgm:cxn modelId="{FBE92B71-639C-E545-B08A-A6B585953D77}" type="presOf" srcId="{DE9D0C92-8ABC-F74F-920F-D906A21395C4}" destId="{F5588644-62F9-B242-B8E8-D6F94611DCBE}" srcOrd="0" destOrd="0" presId="urn:microsoft.com/office/officeart/2008/layout/VerticalCurvedList"/>
    <dgm:cxn modelId="{7E1CC7A3-8352-4F47-B027-1A4D2DDC0073}" srcId="{DC66A698-9A33-2542-B8F3-55843EFC24E0}" destId="{CF955487-83CE-2947-A52D-AAA994E1404F}" srcOrd="0" destOrd="0" parTransId="{6B9274CE-D928-D445-9DB1-239DE99CE921}" sibTransId="{4EEC43E9-7CD5-3C42-8669-E3984B52D13D}"/>
    <dgm:cxn modelId="{FDF33B52-AA12-AC45-B827-3D3F604B0BC3}" srcId="{DC66A698-9A33-2542-B8F3-55843EFC24E0}" destId="{DE9D0C92-8ABC-F74F-920F-D906A21395C4}" srcOrd="1" destOrd="0" parTransId="{653778B8-3DA1-664D-B2BD-5BBC41DA5FFE}" sibTransId="{10F2B927-B7E9-5842-8B00-9ADDD65AB09E}"/>
    <dgm:cxn modelId="{9D560D43-C60D-224F-A33E-BA19976D8C74}" srcId="{DC66A698-9A33-2542-B8F3-55843EFC24E0}" destId="{469FD857-9EAC-134D-9D43-4538766EE965}" srcOrd="2" destOrd="0" parTransId="{7FDE6359-6E0B-C942-97E6-F8113286E40C}" sibTransId="{F6665FC8-EC59-6345-89FF-F7FAC4CB09E2}"/>
    <dgm:cxn modelId="{0D59FB9F-17AF-8F42-B5EA-B312A80C1136}" type="presOf" srcId="{DC66A698-9A33-2542-B8F3-55843EFC24E0}" destId="{E918228B-6AB0-8A44-BFE9-610240C84F1B}" srcOrd="0" destOrd="0" presId="urn:microsoft.com/office/officeart/2008/layout/VerticalCurvedList"/>
    <dgm:cxn modelId="{D70171B7-B874-5D4D-84ED-B5BE9C33B075}" type="presParOf" srcId="{E918228B-6AB0-8A44-BFE9-610240C84F1B}" destId="{17B3CDA0-026D-774F-877E-21B17CE1EC62}" srcOrd="0" destOrd="0" presId="urn:microsoft.com/office/officeart/2008/layout/VerticalCurvedList"/>
    <dgm:cxn modelId="{181CB8BA-2F21-C941-8B98-964BA1161604}" type="presParOf" srcId="{17B3CDA0-026D-774F-877E-21B17CE1EC62}" destId="{F465DA46-18FE-7E40-8FD7-FB2FB8140F2C}" srcOrd="0" destOrd="0" presId="urn:microsoft.com/office/officeart/2008/layout/VerticalCurvedList"/>
    <dgm:cxn modelId="{5D8162C9-F8B4-8041-BE49-20097FC75F6B}" type="presParOf" srcId="{F465DA46-18FE-7E40-8FD7-FB2FB8140F2C}" destId="{2EA299A2-0519-734A-BCA6-15293F089E08}" srcOrd="0" destOrd="0" presId="urn:microsoft.com/office/officeart/2008/layout/VerticalCurvedList"/>
    <dgm:cxn modelId="{54CADE38-B2AA-1141-A8B7-107D466DCEA5}" type="presParOf" srcId="{F465DA46-18FE-7E40-8FD7-FB2FB8140F2C}" destId="{271DDA3C-1976-004B-9451-2F4C93216962}" srcOrd="1" destOrd="0" presId="urn:microsoft.com/office/officeart/2008/layout/VerticalCurvedList"/>
    <dgm:cxn modelId="{16175BD0-25C5-2D42-8C6D-A566574349E3}" type="presParOf" srcId="{F465DA46-18FE-7E40-8FD7-FB2FB8140F2C}" destId="{9A8107F5-F1A0-E847-887A-1B858D5B4E36}" srcOrd="2" destOrd="0" presId="urn:microsoft.com/office/officeart/2008/layout/VerticalCurvedList"/>
    <dgm:cxn modelId="{78845C12-68F1-CE45-A60B-0CFDFAA64006}" type="presParOf" srcId="{F465DA46-18FE-7E40-8FD7-FB2FB8140F2C}" destId="{BDD9555C-6ABA-1E4B-A07C-B7517A94042A}" srcOrd="3" destOrd="0" presId="urn:microsoft.com/office/officeart/2008/layout/VerticalCurvedList"/>
    <dgm:cxn modelId="{5652F4CA-4A86-FE44-8252-6FD86791FBD3}" type="presParOf" srcId="{17B3CDA0-026D-774F-877E-21B17CE1EC62}" destId="{3C84EE42-B656-A340-B35B-195FB11DE943}" srcOrd="1" destOrd="0" presId="urn:microsoft.com/office/officeart/2008/layout/VerticalCurvedList"/>
    <dgm:cxn modelId="{3E01727D-8622-294B-B68E-E273F628E49B}" type="presParOf" srcId="{17B3CDA0-026D-774F-877E-21B17CE1EC62}" destId="{3E60A11D-0BCB-5E49-AC75-7C45A862CAF7}" srcOrd="2" destOrd="0" presId="urn:microsoft.com/office/officeart/2008/layout/VerticalCurvedList"/>
    <dgm:cxn modelId="{E2B0FBB4-48C3-7D4E-B6F9-6633B93E610B}" type="presParOf" srcId="{3E60A11D-0BCB-5E49-AC75-7C45A862CAF7}" destId="{366AE515-1B64-EB42-8F33-61B0D255459B}" srcOrd="0" destOrd="0" presId="urn:microsoft.com/office/officeart/2008/layout/VerticalCurvedList"/>
    <dgm:cxn modelId="{9036615E-94C5-2E44-9929-2E5B99BCDCD9}" type="presParOf" srcId="{17B3CDA0-026D-774F-877E-21B17CE1EC62}" destId="{F5588644-62F9-B242-B8E8-D6F94611DCBE}" srcOrd="3" destOrd="0" presId="urn:microsoft.com/office/officeart/2008/layout/VerticalCurvedList"/>
    <dgm:cxn modelId="{A48113E8-36F5-5449-808D-C374C8B8C12B}" type="presParOf" srcId="{17B3CDA0-026D-774F-877E-21B17CE1EC62}" destId="{AE26F453-2701-2940-A753-C8E8AB6739A7}" srcOrd="4" destOrd="0" presId="urn:microsoft.com/office/officeart/2008/layout/VerticalCurvedList"/>
    <dgm:cxn modelId="{1BF5F67C-334F-DE4C-8296-6D395B563F44}" type="presParOf" srcId="{AE26F453-2701-2940-A753-C8E8AB6739A7}" destId="{C77964F3-13AD-EC40-ABB6-220DA7151AE4}" srcOrd="0" destOrd="0" presId="urn:microsoft.com/office/officeart/2008/layout/VerticalCurvedList"/>
    <dgm:cxn modelId="{ACF89D27-8D5B-B545-AF29-6886A7D6D62B}" type="presParOf" srcId="{17B3CDA0-026D-774F-877E-21B17CE1EC62}" destId="{6081BAE0-DB07-6E40-BC12-EE96BABBC857}" srcOrd="5" destOrd="0" presId="urn:microsoft.com/office/officeart/2008/layout/VerticalCurvedList"/>
    <dgm:cxn modelId="{1F057E7A-3646-F449-ACAC-7E49F3455CC4}" type="presParOf" srcId="{17B3CDA0-026D-774F-877E-21B17CE1EC62}" destId="{AFAD346B-701E-AF41-AE1C-66A854B109EA}" srcOrd="6" destOrd="0" presId="urn:microsoft.com/office/officeart/2008/layout/VerticalCurvedList"/>
    <dgm:cxn modelId="{C1BA55CD-D90D-2C47-831B-C210262F8B44}" type="presParOf" srcId="{AFAD346B-701E-AF41-AE1C-66A854B109EA}" destId="{9B00AAD7-EB15-0844-92DB-0B7C63307E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95F6C-A1E3-3840-89A6-C47B64729179}" type="datetimeFigureOut">
              <a:rPr lang="en-US" smtClean="0"/>
              <a:t>4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6E19D8-027A-374B-838C-E2F542050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47071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599BA3-0173-244E-A292-AD949261CA34}" type="datetimeFigureOut">
              <a:rPr lang="en-US" smtClean="0"/>
              <a:t>4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1F2A5B-32E1-3A49-AC3A-A46670202B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8569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5363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1319F1-8D97-0C46-87C1-641894866B45}" type="slidenum">
              <a:rPr lang="en-AU" smtClean="0"/>
              <a:pPr>
                <a:defRPr/>
              </a:pPr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5711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0850" y="808038"/>
            <a:ext cx="5835650" cy="40417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Calibri" charset="0"/>
            </a:endParaRPr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7168250-D60D-FC41-96C0-55510599D134}" type="slidenum">
              <a:rPr lang="en-US" sz="1200">
                <a:latin typeface="Calibri" charset="0"/>
              </a:rPr>
              <a:pPr/>
              <a:t>11</a:t>
            </a:fld>
            <a:endParaRPr lang="en-US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315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" y="0"/>
            <a:ext cx="9906001" cy="6858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40757" y="3144820"/>
            <a:ext cx="5862320" cy="600750"/>
          </a:xfrm>
        </p:spPr>
        <p:txBody>
          <a:bodyPr vert="horz" wrap="square" lIns="107263" tIns="53630" rIns="107263" bIns="53630" rtlCol="0" anchor="ctr">
            <a:spAutoFit/>
          </a:bodyPr>
          <a:lstStyle>
            <a:lvl1pPr>
              <a:defRPr lang="en-US" sz="3200" b="1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marL="0"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640757" y="6750000"/>
            <a:ext cx="6265244" cy="1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640802" y="3877735"/>
            <a:ext cx="5862769" cy="723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92777" y="250371"/>
            <a:ext cx="1190171" cy="638628"/>
          </a:xfrm>
          <a:prstGeom prst="rect">
            <a:avLst/>
          </a:prstGeom>
        </p:spPr>
      </p:pic>
      <p:pic>
        <p:nvPicPr>
          <p:cNvPr id="11" name="Picture 10" descr="segi3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3402674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87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/>
            </a:lvl1pPr>
          </a:lstStyle>
          <a:p>
            <a:fld id="{AB46D494-7267-194E-A2F6-517973E63D5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429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640757" y="6750000"/>
            <a:ext cx="6265244" cy="10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29000"/>
          </a:blip>
          <a:stretch>
            <a:fillRect/>
          </a:stretch>
        </p:blipFill>
        <p:spPr>
          <a:xfrm>
            <a:off x="704307" y="1828800"/>
            <a:ext cx="8497387" cy="3200400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782506" y="3876689"/>
            <a:ext cx="8420100" cy="530215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2"/>
            <a:ext cx="8420100" cy="1277858"/>
          </a:xfrm>
        </p:spPr>
        <p:txBody>
          <a:bodyPr anchor="t"/>
          <a:lstStyle>
            <a:lvl1pPr algn="l">
              <a:defRPr sz="38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229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02593"/>
            <a:ext cx="4375150" cy="5123043"/>
          </a:xfrm>
        </p:spPr>
        <p:txBody>
          <a:bodyPr>
            <a:normAutofit/>
          </a:bodyPr>
          <a:lstStyle>
            <a:lvl1pPr>
              <a:defRPr sz="23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02593"/>
            <a:ext cx="4375150" cy="5123043"/>
          </a:xfrm>
        </p:spPr>
        <p:txBody>
          <a:bodyPr>
            <a:normAutofit/>
          </a:bodyPr>
          <a:lstStyle>
            <a:lvl1pPr>
              <a:defRPr sz="23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926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977588"/>
            <a:ext cx="4376870" cy="641349"/>
          </a:xfrm>
        </p:spPr>
        <p:txBody>
          <a:bodyPr anchor="b">
            <a:normAutofit/>
          </a:bodyPr>
          <a:lstStyle>
            <a:lvl1pPr marL="0" indent="0">
              <a:buNone/>
              <a:defRPr sz="1900" b="1"/>
            </a:lvl1pPr>
            <a:lvl2pPr marL="536311" indent="0">
              <a:buNone/>
              <a:defRPr sz="2300" b="1"/>
            </a:lvl2pPr>
            <a:lvl3pPr marL="1072621" indent="0">
              <a:buNone/>
              <a:defRPr sz="2100" b="1"/>
            </a:lvl3pPr>
            <a:lvl4pPr marL="1608932" indent="0">
              <a:buNone/>
              <a:defRPr sz="1900" b="1"/>
            </a:lvl4pPr>
            <a:lvl5pPr marL="2145243" indent="0">
              <a:buNone/>
              <a:defRPr sz="1900" b="1"/>
            </a:lvl5pPr>
            <a:lvl6pPr marL="2681554" indent="0">
              <a:buNone/>
              <a:defRPr sz="1900" b="1"/>
            </a:lvl6pPr>
            <a:lvl7pPr marL="3217864" indent="0">
              <a:buNone/>
              <a:defRPr sz="1900" b="1"/>
            </a:lvl7pPr>
            <a:lvl8pPr marL="3754175" indent="0">
              <a:buNone/>
              <a:defRPr sz="1900" b="1"/>
            </a:lvl8pPr>
            <a:lvl9pPr marL="4290486" indent="0">
              <a:buNone/>
              <a:defRPr sz="19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618939"/>
            <a:ext cx="4376870" cy="39497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3" y="977588"/>
            <a:ext cx="4378590" cy="641349"/>
          </a:xfrm>
        </p:spPr>
        <p:txBody>
          <a:bodyPr anchor="b">
            <a:normAutofit/>
          </a:bodyPr>
          <a:lstStyle>
            <a:lvl1pPr marL="0" indent="0">
              <a:buNone/>
              <a:defRPr sz="1900" b="1"/>
            </a:lvl1pPr>
            <a:lvl2pPr marL="536311" indent="0">
              <a:buNone/>
              <a:defRPr sz="2300" b="1"/>
            </a:lvl2pPr>
            <a:lvl3pPr marL="1072621" indent="0">
              <a:buNone/>
              <a:defRPr sz="2100" b="1"/>
            </a:lvl3pPr>
            <a:lvl4pPr marL="1608932" indent="0">
              <a:buNone/>
              <a:defRPr sz="1900" b="1"/>
            </a:lvl4pPr>
            <a:lvl5pPr marL="2145243" indent="0">
              <a:buNone/>
              <a:defRPr sz="1900" b="1"/>
            </a:lvl5pPr>
            <a:lvl6pPr marL="2681554" indent="0">
              <a:buNone/>
              <a:defRPr sz="1900" b="1"/>
            </a:lvl6pPr>
            <a:lvl7pPr marL="3217864" indent="0">
              <a:buNone/>
              <a:defRPr sz="1900" b="1"/>
            </a:lvl7pPr>
            <a:lvl8pPr marL="3754175" indent="0">
              <a:buNone/>
              <a:defRPr sz="1900" b="1"/>
            </a:lvl8pPr>
            <a:lvl9pPr marL="4290486" indent="0">
              <a:buNone/>
              <a:defRPr sz="19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3" y="1618939"/>
            <a:ext cx="4378590" cy="39497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450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060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381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18909"/>
            <a:ext cx="3259006" cy="81619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4"/>
            <a:ext cx="5537729" cy="5852583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006" cy="4690533"/>
          </a:xfrm>
        </p:spPr>
        <p:txBody>
          <a:bodyPr/>
          <a:lstStyle>
            <a:lvl1pPr marL="0" indent="0">
              <a:buNone/>
              <a:defRPr sz="1600"/>
            </a:lvl1pPr>
            <a:lvl2pPr marL="536311" indent="0">
              <a:buNone/>
              <a:defRPr sz="1400"/>
            </a:lvl2pPr>
            <a:lvl3pPr marL="1072621" indent="0">
              <a:buNone/>
              <a:defRPr sz="1200"/>
            </a:lvl3pPr>
            <a:lvl4pPr marL="1608932" indent="0">
              <a:buNone/>
              <a:defRPr sz="1100"/>
            </a:lvl4pPr>
            <a:lvl5pPr marL="2145243" indent="0">
              <a:buNone/>
              <a:defRPr sz="1100"/>
            </a:lvl5pPr>
            <a:lvl6pPr marL="2681554" indent="0">
              <a:buNone/>
              <a:defRPr sz="1100"/>
            </a:lvl6pPr>
            <a:lvl7pPr marL="3217864" indent="0">
              <a:buNone/>
              <a:defRPr sz="1100"/>
            </a:lvl7pPr>
            <a:lvl8pPr marL="3754175" indent="0">
              <a:buNone/>
              <a:defRPr sz="1100"/>
            </a:lvl8pPr>
            <a:lvl9pPr marL="4290486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40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905619"/>
            <a:ext cx="5943600" cy="462251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3833"/>
            <a:ext cx="5943600" cy="4114800"/>
          </a:xfrm>
        </p:spPr>
        <p:txBody>
          <a:bodyPr/>
          <a:lstStyle>
            <a:lvl1pPr marL="0" indent="0">
              <a:buNone/>
              <a:defRPr sz="3800"/>
            </a:lvl1pPr>
            <a:lvl2pPr marL="536311" indent="0">
              <a:buNone/>
              <a:defRPr sz="3300"/>
            </a:lvl2pPr>
            <a:lvl3pPr marL="1072621" indent="0">
              <a:buNone/>
              <a:defRPr sz="2800"/>
            </a:lvl3pPr>
            <a:lvl4pPr marL="1608932" indent="0">
              <a:buNone/>
              <a:defRPr sz="2300"/>
            </a:lvl4pPr>
            <a:lvl5pPr marL="2145243" indent="0">
              <a:buNone/>
              <a:defRPr sz="2300"/>
            </a:lvl5pPr>
            <a:lvl6pPr marL="2681554" indent="0">
              <a:buNone/>
              <a:defRPr sz="2300"/>
            </a:lvl6pPr>
            <a:lvl7pPr marL="3217864" indent="0">
              <a:buNone/>
              <a:defRPr sz="2300"/>
            </a:lvl7pPr>
            <a:lvl8pPr marL="3754175" indent="0">
              <a:buNone/>
              <a:defRPr sz="2300"/>
            </a:lvl8pPr>
            <a:lvl9pPr marL="4290486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868"/>
            <a:ext cx="5943600" cy="804333"/>
          </a:xfrm>
        </p:spPr>
        <p:txBody>
          <a:bodyPr/>
          <a:lstStyle>
            <a:lvl1pPr marL="0" indent="0">
              <a:buNone/>
              <a:defRPr sz="1600"/>
            </a:lvl1pPr>
            <a:lvl2pPr marL="536311" indent="0">
              <a:buNone/>
              <a:defRPr sz="1400"/>
            </a:lvl2pPr>
            <a:lvl3pPr marL="1072621" indent="0">
              <a:buNone/>
              <a:defRPr sz="1200"/>
            </a:lvl3pPr>
            <a:lvl4pPr marL="1608932" indent="0">
              <a:buNone/>
              <a:defRPr sz="1100"/>
            </a:lvl4pPr>
            <a:lvl5pPr marL="2145243" indent="0">
              <a:buNone/>
              <a:defRPr sz="1100"/>
            </a:lvl5pPr>
            <a:lvl6pPr marL="2681554" indent="0">
              <a:buNone/>
              <a:defRPr sz="1100"/>
            </a:lvl6pPr>
            <a:lvl7pPr marL="3217864" indent="0">
              <a:buNone/>
              <a:defRPr sz="1100"/>
            </a:lvl7pPr>
            <a:lvl8pPr marL="3754175" indent="0">
              <a:buNone/>
              <a:defRPr sz="1100"/>
            </a:lvl8pPr>
            <a:lvl9pPr marL="4290486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445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"/>
            <a:ext cx="9906000" cy="7885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124682"/>
            <a:ext cx="8915400" cy="539195"/>
          </a:xfrm>
          <a:prstGeom prst="rect">
            <a:avLst/>
          </a:prstGeom>
        </p:spPr>
        <p:txBody>
          <a:bodyPr vert="horz" wrap="square" lIns="107263" tIns="53630" rIns="107263" bIns="53630" rtlCol="0" anchor="ctr">
            <a:spAutoFit/>
          </a:bodyPr>
          <a:lstStyle/>
          <a:p>
            <a:pPr marL="0"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92200"/>
            <a:ext cx="8915400" cy="4882848"/>
          </a:xfrm>
          <a:prstGeom prst="rect">
            <a:avLst/>
          </a:prstGeom>
        </p:spPr>
        <p:txBody>
          <a:bodyPr vert="horz" lIns="107263" tIns="53630" rIns="107263" bIns="5363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640757" y="6750000"/>
            <a:ext cx="6265244" cy="1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9611181" y="6513757"/>
            <a:ext cx="294822" cy="3442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7263" tIns="53630" rIns="107263" bIns="53630"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 vert="horz" lIns="107263" tIns="53630" rIns="107263" bIns="5363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fld id="{AB46D494-7267-194E-A2F6-517973E63D5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534" y="6486542"/>
            <a:ext cx="490990" cy="263458"/>
          </a:xfrm>
          <a:prstGeom prst="rect">
            <a:avLst/>
          </a:prstGeom>
        </p:spPr>
      </p:pic>
      <p:pic>
        <p:nvPicPr>
          <p:cNvPr id="12" name="Picture 11" descr="segi3.png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91251" cy="78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74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36311" rtl="0" eaLnBrk="1" latinLnBrk="0" hangingPunct="1">
        <a:spcBef>
          <a:spcPct val="0"/>
        </a:spcBef>
        <a:buNone/>
        <a:defRPr lang="en-US" sz="2800" b="1" kern="1200" smtClean="0">
          <a:solidFill>
            <a:schemeClr val="accent6"/>
          </a:solidFill>
          <a:latin typeface="Arial"/>
          <a:ea typeface="+mj-ea"/>
          <a:cs typeface="Arial"/>
        </a:defRPr>
      </a:lvl1pPr>
    </p:titleStyle>
    <p:bodyStyle>
      <a:lvl1pPr marL="402233" indent="-402233" algn="l" defTabSz="536311" rtl="0" eaLnBrk="1" latinLnBrk="0" hangingPunct="1">
        <a:spcBef>
          <a:spcPct val="20000"/>
        </a:spcBef>
        <a:buFont typeface="Arial"/>
        <a:buChar char="•"/>
        <a:defRPr sz="1900" kern="1200">
          <a:solidFill>
            <a:srgbClr val="7F7F7F"/>
          </a:solidFill>
          <a:latin typeface="Arial"/>
          <a:ea typeface="+mn-ea"/>
          <a:cs typeface="Arial"/>
        </a:defRPr>
      </a:lvl1pPr>
      <a:lvl2pPr marL="871505" indent="-335194" algn="l" defTabSz="536311" rtl="0" eaLnBrk="1" latinLnBrk="0" hangingPunct="1">
        <a:spcBef>
          <a:spcPct val="20000"/>
        </a:spcBef>
        <a:buFont typeface="Arial"/>
        <a:buChar char="–"/>
        <a:defRPr sz="1900" kern="1200">
          <a:solidFill>
            <a:srgbClr val="7F7F7F"/>
          </a:solidFill>
          <a:latin typeface="Arial"/>
          <a:ea typeface="+mn-ea"/>
          <a:cs typeface="Arial"/>
        </a:defRPr>
      </a:lvl2pPr>
      <a:lvl3pPr marL="1340777" indent="-268155" algn="l" defTabSz="536311" rtl="0" eaLnBrk="1" latinLnBrk="0" hangingPunct="1">
        <a:spcBef>
          <a:spcPct val="20000"/>
        </a:spcBef>
        <a:buFont typeface="Arial"/>
        <a:buChar char="•"/>
        <a:defRPr sz="1900" kern="1200">
          <a:solidFill>
            <a:srgbClr val="7F7F7F"/>
          </a:solidFill>
          <a:latin typeface="Arial"/>
          <a:ea typeface="+mn-ea"/>
          <a:cs typeface="Arial"/>
        </a:defRPr>
      </a:lvl3pPr>
      <a:lvl4pPr marL="1877088" indent="-268155" algn="l" defTabSz="536311" rtl="0" eaLnBrk="1" latinLnBrk="0" hangingPunct="1">
        <a:spcBef>
          <a:spcPct val="20000"/>
        </a:spcBef>
        <a:buFont typeface="Arial"/>
        <a:buChar char="–"/>
        <a:defRPr sz="1900" kern="1200">
          <a:solidFill>
            <a:srgbClr val="7F7F7F"/>
          </a:solidFill>
          <a:latin typeface="Arial"/>
          <a:ea typeface="+mn-ea"/>
          <a:cs typeface="Arial"/>
        </a:defRPr>
      </a:lvl4pPr>
      <a:lvl5pPr marL="2413398" indent="-268155" algn="l" defTabSz="536311" rtl="0" eaLnBrk="1" latinLnBrk="0" hangingPunct="1">
        <a:spcBef>
          <a:spcPct val="20000"/>
        </a:spcBef>
        <a:buFont typeface="Arial"/>
        <a:buChar char="»"/>
        <a:defRPr sz="1900" kern="1200">
          <a:solidFill>
            <a:srgbClr val="7F7F7F"/>
          </a:solidFill>
          <a:latin typeface="Arial"/>
          <a:ea typeface="+mn-ea"/>
          <a:cs typeface="Arial"/>
        </a:defRPr>
      </a:lvl5pPr>
      <a:lvl6pPr marL="2949709" indent="-268155" algn="l" defTabSz="5363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020" indent="-268155" algn="l" defTabSz="5363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2331" indent="-268155" algn="l" defTabSz="5363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8641" indent="-268155" algn="l" defTabSz="5363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311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621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8932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243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1554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7864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4175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0486" algn="l" defTabSz="5363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" Target="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microsoft.com/office/2007/relationships/hdphoto" Target="../media/hdphoto3.wdp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4.png"/><Relationship Id="rId2" Type="http://schemas.openxmlformats.org/officeDocument/2006/relationships/image" Target="../media/image19.png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1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ctrTitle"/>
          </p:nvPr>
        </p:nvSpPr>
        <p:spPr>
          <a:xfrm>
            <a:off x="3640757" y="2652379"/>
            <a:ext cx="5862320" cy="1585635"/>
          </a:xfrm>
        </p:spPr>
        <p:txBody>
          <a:bodyPr/>
          <a:lstStyle/>
          <a:p>
            <a:pPr marL="0" indent="0" defTabSz="914400"/>
            <a:r>
              <a:rPr lang="id-ID" altLang="id-ID" kern="0" dirty="0" smtClean="0">
                <a:cs typeface="Arial" charset="0"/>
              </a:rPr>
              <a:t>Sinergi Dan Komitmen KPPIP Dalam Pencapaian Proyek </a:t>
            </a:r>
            <a:r>
              <a:rPr lang="id-ID" altLang="id-ID" kern="0" dirty="0" smtClean="0">
                <a:cs typeface="Arial" charset="0"/>
              </a:rPr>
              <a:t>Prioritas dan PSN</a:t>
            </a:r>
            <a:endParaRPr lang="en-US" altLang="id-ID" kern="0" dirty="0">
              <a:cs typeface="Arial" charset="0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640802" y="4125425"/>
            <a:ext cx="5862769" cy="723900"/>
          </a:xfrm>
        </p:spPr>
        <p:txBody>
          <a:bodyPr/>
          <a:lstStyle/>
          <a:p>
            <a:r>
              <a:rPr lang="en-US" b="1" dirty="0" err="1" smtClean="0"/>
              <a:t>Komite</a:t>
            </a:r>
            <a:r>
              <a:rPr lang="en-US" b="1" dirty="0" smtClean="0"/>
              <a:t> </a:t>
            </a:r>
            <a:r>
              <a:rPr lang="en-US" b="1" dirty="0" err="1" smtClean="0"/>
              <a:t>Percepatan</a:t>
            </a:r>
            <a:r>
              <a:rPr lang="en-US" b="1" dirty="0" smtClean="0"/>
              <a:t> </a:t>
            </a:r>
            <a:r>
              <a:rPr lang="en-US" b="1" dirty="0" err="1" smtClean="0"/>
              <a:t>Penyediaan</a:t>
            </a:r>
            <a:r>
              <a:rPr lang="en-US" b="1" dirty="0" smtClean="0"/>
              <a:t> </a:t>
            </a:r>
            <a:r>
              <a:rPr lang="en-US" b="1" dirty="0" err="1" smtClean="0"/>
              <a:t>Infrastruktur</a:t>
            </a:r>
            <a:r>
              <a:rPr lang="en-US" b="1" dirty="0" smtClean="0"/>
              <a:t> </a:t>
            </a:r>
            <a:r>
              <a:rPr lang="en-US" b="1" dirty="0" err="1" smtClean="0"/>
              <a:t>Prioritas</a:t>
            </a:r>
            <a:r>
              <a:rPr lang="en-US" b="1" dirty="0" smtClean="0"/>
              <a:t> (KPPIP)</a:t>
            </a:r>
            <a:endParaRPr lang="en-US" b="1" dirty="0"/>
          </a:p>
        </p:txBody>
      </p:sp>
      <p:sp>
        <p:nvSpPr>
          <p:cNvPr id="5" name="TextBox 291"/>
          <p:cNvSpPr txBox="1">
            <a:spLocks noChangeArrowheads="1"/>
          </p:cNvSpPr>
          <p:nvPr/>
        </p:nvSpPr>
        <p:spPr bwMode="auto">
          <a:xfrm>
            <a:off x="1454150" y="5846763"/>
            <a:ext cx="832802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en-US" sz="1600" b="1" dirty="0" err="1" smtClean="0">
                <a:solidFill>
                  <a:schemeClr val="bg1">
                    <a:lumMod val="50000"/>
                  </a:schemeClr>
                </a:solidFill>
              </a:rPr>
              <a:t>Bastary</a:t>
            </a: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</a:rPr>
              <a:t> P. </a:t>
            </a:r>
            <a:r>
              <a:rPr lang="en-US" sz="1600" b="1" dirty="0" err="1" smtClean="0">
                <a:solidFill>
                  <a:schemeClr val="bg1">
                    <a:lumMod val="50000"/>
                  </a:schemeClr>
                </a:solidFill>
              </a:rPr>
              <a:t>Indra</a:t>
            </a: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600" b="1" dirty="0" err="1" smtClean="0">
                <a:solidFill>
                  <a:schemeClr val="bg1">
                    <a:lumMod val="50000"/>
                  </a:schemeClr>
                </a:solidFill>
              </a:rPr>
              <a:t>Sekretaris</a:t>
            </a: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en-US" sz="1600" b="1" dirty="0" err="1" smtClean="0">
                <a:solidFill>
                  <a:schemeClr val="bg1">
                    <a:lumMod val="50000"/>
                  </a:schemeClr>
                </a:solidFill>
              </a:rPr>
              <a:t>Pelaksana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  <a:p>
            <a:pPr algn="r" eaLnBrk="1" hangingPunct="1"/>
            <a:r>
              <a:rPr lang="en-US" sz="1600" dirty="0" err="1" smtClean="0">
                <a:solidFill>
                  <a:schemeClr val="bg1">
                    <a:lumMod val="50000"/>
                  </a:schemeClr>
                </a:solidFill>
              </a:rPr>
              <a:t>Komite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dirty="0" err="1" smtClean="0">
                <a:solidFill>
                  <a:schemeClr val="bg1">
                    <a:lumMod val="50000"/>
                  </a:schemeClr>
                </a:solidFill>
              </a:rPr>
              <a:t>Percepatan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dirty="0" err="1" smtClean="0">
                <a:solidFill>
                  <a:schemeClr val="bg1">
                    <a:lumMod val="50000"/>
                  </a:schemeClr>
                </a:solidFill>
              </a:rPr>
              <a:t>Penyediaan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dirty="0" err="1" smtClean="0">
                <a:solidFill>
                  <a:schemeClr val="bg1">
                    <a:lumMod val="50000"/>
                  </a:schemeClr>
                </a:solidFill>
              </a:rPr>
              <a:t>Infrastrukur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dirty="0" err="1" smtClean="0">
                <a:solidFill>
                  <a:schemeClr val="bg1">
                    <a:lumMod val="50000"/>
                  </a:schemeClr>
                </a:solidFill>
              </a:rPr>
              <a:t>Prioritas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 (KPPIP)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  <a:p>
            <a:pPr algn="r" eaLnBrk="1" hangingPunct="1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Jakarta,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6 April 2017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6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86237"/>
            <a:ext cx="8915400" cy="416084"/>
          </a:xfrm>
        </p:spPr>
        <p:txBody>
          <a:bodyPr/>
          <a:lstStyle/>
          <a:p>
            <a:r>
              <a:rPr lang="en-US" sz="2000" dirty="0"/>
              <a:t>Status </a:t>
            </a:r>
            <a:r>
              <a:rPr lang="en-US" sz="2000" dirty="0" err="1"/>
              <a:t>kemajuan</a:t>
            </a:r>
            <a:r>
              <a:rPr lang="en-US" sz="2000" dirty="0"/>
              <a:t> 30 </a:t>
            </a:r>
            <a:r>
              <a:rPr lang="en-US" sz="2000" dirty="0" err="1"/>
              <a:t>proyek</a:t>
            </a:r>
            <a:r>
              <a:rPr lang="en-US" sz="2000" dirty="0"/>
              <a:t> </a:t>
            </a:r>
            <a:r>
              <a:rPr lang="en-US" sz="2000" dirty="0" err="1" smtClean="0"/>
              <a:t>prioritas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127000" y="1006475"/>
            <a:ext cx="4502150" cy="43815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tus </a:t>
            </a:r>
            <a:r>
              <a:rPr lang="en-US" sz="1400" b="1" dirty="0" err="1">
                <a:solidFill>
                  <a:schemeClr val="bg1"/>
                </a:solidFill>
              </a:rPr>
              <a:t>kemajuan</a:t>
            </a:r>
            <a:r>
              <a:rPr lang="en-US" sz="1400" b="1" dirty="0">
                <a:solidFill>
                  <a:schemeClr val="bg1"/>
                </a:solidFill>
              </a:rPr>
              <a:t> 30 </a:t>
            </a:r>
            <a:r>
              <a:rPr lang="en-US" sz="1400" b="1" dirty="0" err="1">
                <a:solidFill>
                  <a:schemeClr val="bg1"/>
                </a:solidFill>
              </a:rPr>
              <a:t>proyek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priorita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" name="Rectangle 18"/>
          <p:cNvSpPr>
            <a:spLocks noChangeArrowheads="1"/>
          </p:cNvSpPr>
          <p:nvPr/>
        </p:nvSpPr>
        <p:spPr bwMode="auto">
          <a:xfrm>
            <a:off x="2169087" y="6345022"/>
            <a:ext cx="76432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aseline="30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5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yek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yang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itinjau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ulang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erupak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yek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HVDC; PLTA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arangates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V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V</a:t>
            </a:r>
            <a:r>
              <a:rPr lang="en-US" sz="9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; PLTA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esambe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; PLTMH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Lodoyo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;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PLTU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ulut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Tambang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umsel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8,9,10 (PLTU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umsel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8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udah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erjal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namu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yek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ni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erupak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atu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esatu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ng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PLTU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umsel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9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n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10 yang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itinjau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ulang</a:t>
            </a: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  <a:endParaRPr lang="en-US" sz="900" dirty="0"/>
          </a:p>
        </p:txBody>
      </p:sp>
      <p:sp>
        <p:nvSpPr>
          <p:cNvPr id="13" name="Rectangle 12"/>
          <p:cNvSpPr/>
          <p:nvPr/>
        </p:nvSpPr>
        <p:spPr>
          <a:xfrm>
            <a:off x="5070475" y="1006475"/>
            <a:ext cx="4502150" cy="43815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anchor="ctr"/>
          <a:lstStyle/>
          <a:p>
            <a:pPr algn="ctr"/>
            <a:r>
              <a:rPr lang="en-US" sz="1400" b="1" i="1" dirty="0">
                <a:solidFill>
                  <a:schemeClr val="bg1"/>
                </a:solidFill>
              </a:rPr>
              <a:t>Milestone </a:t>
            </a:r>
            <a:r>
              <a:rPr lang="en-US" sz="1400" b="1" dirty="0">
                <a:solidFill>
                  <a:schemeClr val="bg1"/>
                </a:solidFill>
              </a:rPr>
              <a:t>yang </a:t>
            </a:r>
            <a:r>
              <a:rPr lang="en-US" sz="1400" b="1" dirty="0" err="1">
                <a:solidFill>
                  <a:schemeClr val="bg1"/>
                </a:solidFill>
              </a:rPr>
              <a:t>baru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dicapai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7000" y="3582988"/>
            <a:ext cx="4502150" cy="43973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anchor="ctr"/>
          <a:lstStyle/>
          <a:p>
            <a:pPr algn="ctr">
              <a:defRPr/>
            </a:pPr>
            <a:r>
              <a:rPr lang="en-US" sz="1400" b="1" dirty="0" err="1" smtClean="0">
                <a:solidFill>
                  <a:schemeClr val="bg1"/>
                </a:solidFill>
              </a:rPr>
              <a:t>Skema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Pendanaan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untuk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bg1"/>
                </a:solidFill>
              </a:rPr>
              <a:t>30 </a:t>
            </a:r>
            <a:r>
              <a:rPr lang="en-US" sz="1400" b="1" dirty="0" err="1" smtClean="0">
                <a:solidFill>
                  <a:schemeClr val="bg1"/>
                </a:solidFill>
              </a:rPr>
              <a:t>Proyek</a:t>
            </a:r>
            <a:r>
              <a:rPr lang="en-US" sz="1400" b="1" dirty="0" smtClean="0">
                <a:solidFill>
                  <a:schemeClr val="bg1"/>
                </a:solidFill>
              </a:rPr>
              <a:t> Prioritias</a:t>
            </a:r>
            <a:r>
              <a:rPr lang="en-US" sz="1400" b="1" baseline="30000" dirty="0" smtClean="0">
                <a:solidFill>
                  <a:schemeClr val="bg1"/>
                </a:solidFill>
              </a:rPr>
              <a:t>2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3694716"/>
              </p:ext>
            </p:extLst>
          </p:nvPr>
        </p:nvGraphicFramePr>
        <p:xfrm>
          <a:off x="-133669" y="391243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32"/>
          <p:cNvSpPr txBox="1">
            <a:spLocks noChangeArrowheads="1"/>
          </p:cNvSpPr>
          <p:nvPr/>
        </p:nvSpPr>
        <p:spPr bwMode="auto">
          <a:xfrm>
            <a:off x="-3030" y="5014653"/>
            <a:ext cx="5746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57%</a:t>
            </a:r>
          </a:p>
        </p:txBody>
      </p:sp>
      <p:sp>
        <p:nvSpPr>
          <p:cNvPr id="20" name="TextBox 32"/>
          <p:cNvSpPr txBox="1">
            <a:spLocks noChangeArrowheads="1"/>
          </p:cNvSpPr>
          <p:nvPr/>
        </p:nvSpPr>
        <p:spPr bwMode="auto">
          <a:xfrm>
            <a:off x="1466995" y="4314566"/>
            <a:ext cx="5746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20%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160" y="4197211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796" y="5286749"/>
            <a:ext cx="368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935" y="2580401"/>
            <a:ext cx="368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5449109" y="4225637"/>
            <a:ext cx="412006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 smtClean="0"/>
              <a:t>Pelabuha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atimban</a:t>
            </a:r>
            <a:r>
              <a:rPr lang="en-US" sz="1400" b="1" dirty="0" smtClean="0"/>
              <a:t>:</a:t>
            </a:r>
            <a:r>
              <a:rPr lang="en-US" sz="1400" dirty="0" smtClean="0"/>
              <a:t> </a:t>
            </a:r>
            <a:r>
              <a:rPr lang="en-US" sz="1400" dirty="0" err="1" smtClean="0"/>
              <a:t>Penerbitan</a:t>
            </a:r>
            <a:r>
              <a:rPr lang="en-US" sz="1400" dirty="0" smtClean="0"/>
              <a:t> </a:t>
            </a:r>
            <a:r>
              <a:rPr lang="en-US" sz="1400" dirty="0" err="1" smtClean="0"/>
              <a:t>Izin</a:t>
            </a:r>
            <a:r>
              <a:rPr lang="en-US" sz="1400" dirty="0" smtClean="0"/>
              <a:t> </a:t>
            </a:r>
            <a:r>
              <a:rPr lang="en-US" sz="1400" dirty="0" err="1" smtClean="0"/>
              <a:t>Lingkungan</a:t>
            </a:r>
            <a:r>
              <a:rPr lang="en-US" sz="1400" dirty="0" smtClean="0"/>
              <a:t> yang </a:t>
            </a:r>
            <a:r>
              <a:rPr lang="en-US" sz="1400" dirty="0" err="1" smtClean="0"/>
              <a:t>merupakan</a:t>
            </a:r>
            <a:r>
              <a:rPr lang="en-US" sz="1400" dirty="0" smtClean="0"/>
              <a:t> </a:t>
            </a:r>
            <a:r>
              <a:rPr lang="en-US" sz="1400" dirty="0" err="1" smtClean="0"/>
              <a:t>salah</a:t>
            </a:r>
            <a:r>
              <a:rPr lang="en-US" sz="1400" dirty="0" smtClean="0"/>
              <a:t> </a:t>
            </a:r>
            <a:r>
              <a:rPr lang="en-US" sz="1400" dirty="0" err="1" smtClean="0"/>
              <a:t>satu</a:t>
            </a:r>
            <a:r>
              <a:rPr lang="en-US" sz="1400" dirty="0" smtClean="0"/>
              <a:t> </a:t>
            </a:r>
            <a:r>
              <a:rPr lang="en-US" sz="1400" dirty="0" err="1"/>
              <a:t>prasyarat</a:t>
            </a:r>
            <a:r>
              <a:rPr lang="en-US" sz="1400" dirty="0"/>
              <a:t> </a:t>
            </a:r>
            <a:r>
              <a:rPr lang="en-US" sz="1400" dirty="0" err="1"/>
              <a:t>permohonan</a:t>
            </a:r>
            <a:r>
              <a:rPr lang="en-US" sz="1400" dirty="0"/>
              <a:t> </a:t>
            </a:r>
            <a:r>
              <a:rPr lang="en-US" sz="1400" dirty="0" err="1"/>
              <a:t>pinjaman</a:t>
            </a:r>
            <a:r>
              <a:rPr lang="en-US" sz="1400" dirty="0"/>
              <a:t> </a:t>
            </a:r>
            <a:r>
              <a:rPr lang="en-US" sz="1400" dirty="0" err="1"/>
              <a:t>luar</a:t>
            </a:r>
            <a:r>
              <a:rPr lang="en-US" sz="1400" dirty="0"/>
              <a:t> </a:t>
            </a:r>
            <a:r>
              <a:rPr lang="en-US" sz="1400" dirty="0" err="1"/>
              <a:t>negeri</a:t>
            </a:r>
            <a:r>
              <a:rPr lang="en-US" sz="1400" dirty="0"/>
              <a:t> </a:t>
            </a:r>
            <a:r>
              <a:rPr lang="en-US" sz="1400" dirty="0" err="1"/>
              <a:t>melalui</a:t>
            </a:r>
            <a:r>
              <a:rPr lang="en-US" sz="1400" dirty="0"/>
              <a:t> ODA </a:t>
            </a:r>
            <a:r>
              <a:rPr lang="en-US" sz="1400" i="1" dirty="0"/>
              <a:t>Loan</a:t>
            </a:r>
            <a:r>
              <a:rPr lang="en-US" sz="1400" dirty="0"/>
              <a:t> </a:t>
            </a:r>
            <a:r>
              <a:rPr lang="en-US" sz="1400" dirty="0" err="1"/>
              <a:t>terpenuhi</a:t>
            </a:r>
            <a:r>
              <a:rPr lang="en-US" sz="1400" dirty="0"/>
              <a:t>.</a:t>
            </a:r>
            <a:endParaRPr lang="en-US" sz="1400" i="1" dirty="0"/>
          </a:p>
        </p:txBody>
      </p:sp>
      <p:sp>
        <p:nvSpPr>
          <p:cNvPr id="28" name="Rectangle 27"/>
          <p:cNvSpPr/>
          <p:nvPr/>
        </p:nvSpPr>
        <p:spPr>
          <a:xfrm>
            <a:off x="5432961" y="5252777"/>
            <a:ext cx="413621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Central-West Java Transmission Line</a:t>
            </a:r>
            <a:r>
              <a:rPr lang="en-US" sz="1400" b="1" dirty="0"/>
              <a:t>:</a:t>
            </a:r>
            <a:r>
              <a:rPr lang="en-US" sz="1400" dirty="0"/>
              <a:t> </a:t>
            </a:r>
          </a:p>
          <a:p>
            <a:r>
              <a:rPr lang="en-US" sz="1400" dirty="0" err="1" smtClean="0"/>
              <a:t>Penerbitan</a:t>
            </a:r>
            <a:r>
              <a:rPr lang="en-US" sz="1400" dirty="0" smtClean="0"/>
              <a:t> </a:t>
            </a:r>
            <a:r>
              <a:rPr lang="en-US" sz="1400" dirty="0" err="1" smtClean="0"/>
              <a:t>rekomendasi</a:t>
            </a:r>
            <a:r>
              <a:rPr lang="en-US" sz="1400" dirty="0" smtClean="0"/>
              <a:t> </a:t>
            </a:r>
            <a:r>
              <a:rPr lang="en-US" sz="1400" dirty="0" err="1" smtClean="0"/>
              <a:t>terkait</a:t>
            </a:r>
            <a:r>
              <a:rPr lang="en-US" sz="1400" dirty="0" smtClean="0"/>
              <a:t> RTRW </a:t>
            </a:r>
            <a:r>
              <a:rPr lang="en-US" sz="1400" dirty="0" err="1" smtClean="0"/>
              <a:t>sehingga</a:t>
            </a:r>
            <a:r>
              <a:rPr lang="en-US" sz="1400" dirty="0" smtClean="0"/>
              <a:t> </a:t>
            </a:r>
            <a:r>
              <a:rPr lang="en-US" sz="1400" dirty="0" err="1"/>
              <a:t>P</a:t>
            </a:r>
            <a:r>
              <a:rPr lang="en-US" sz="1400" dirty="0" err="1" smtClean="0"/>
              <a:t>enetapan</a:t>
            </a:r>
            <a:r>
              <a:rPr lang="en-US" sz="1400" dirty="0" smtClean="0"/>
              <a:t> </a:t>
            </a:r>
            <a:r>
              <a:rPr lang="en-US" sz="1400" dirty="0" err="1"/>
              <a:t>L</a:t>
            </a:r>
            <a:r>
              <a:rPr lang="en-US" sz="1400" dirty="0" err="1" smtClean="0"/>
              <a:t>okasi</a:t>
            </a:r>
            <a:r>
              <a:rPr lang="en-US" sz="1400" dirty="0" smtClean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seluruh</a:t>
            </a:r>
            <a:r>
              <a:rPr lang="en-US" sz="1400" dirty="0"/>
              <a:t> </a:t>
            </a:r>
            <a:r>
              <a:rPr lang="en-US" sz="1400" dirty="0" err="1"/>
              <a:t>lokasi</a:t>
            </a:r>
            <a:r>
              <a:rPr lang="en-US" sz="1400" dirty="0"/>
              <a:t> </a:t>
            </a:r>
            <a:r>
              <a:rPr lang="en-US" sz="1400" dirty="0" err="1"/>
              <a:t>telah</a:t>
            </a:r>
            <a:r>
              <a:rPr lang="en-US" sz="1400" dirty="0"/>
              <a:t> </a:t>
            </a:r>
            <a:r>
              <a:rPr lang="en-US" sz="1400" dirty="0" err="1" smtClean="0"/>
              <a:t>diperoleh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9" name="Rectangle 28"/>
          <p:cNvSpPr/>
          <p:nvPr/>
        </p:nvSpPr>
        <p:spPr>
          <a:xfrm>
            <a:off x="5476020" y="2516277"/>
            <a:ext cx="409315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 smtClean="0"/>
              <a:t>Jakarta Sewerage System</a:t>
            </a:r>
            <a:r>
              <a:rPr lang="en-US" sz="1400" b="1" dirty="0" smtClean="0"/>
              <a:t>:</a:t>
            </a:r>
            <a:endParaRPr lang="en-US" sz="1400" dirty="0" smtClean="0"/>
          </a:p>
          <a:p>
            <a:r>
              <a:rPr lang="en-US" sz="1400" dirty="0" err="1" smtClean="0"/>
              <a:t>Penyelesaian</a:t>
            </a:r>
            <a:r>
              <a:rPr lang="en-US" sz="1400" dirty="0" smtClean="0"/>
              <a:t> </a:t>
            </a:r>
            <a:r>
              <a:rPr lang="en-US" sz="1400" dirty="0" err="1" smtClean="0"/>
              <a:t>studi</a:t>
            </a:r>
            <a:r>
              <a:rPr lang="en-US" sz="1400" dirty="0" smtClean="0"/>
              <a:t> </a:t>
            </a:r>
            <a:r>
              <a:rPr lang="en-US" sz="1400" dirty="0"/>
              <a:t>yang </a:t>
            </a:r>
            <a:r>
              <a:rPr lang="en-US" sz="1400" dirty="0" err="1"/>
              <a:t>memberikan</a:t>
            </a:r>
            <a:r>
              <a:rPr lang="en-US" sz="1400" dirty="0"/>
              <a:t> </a:t>
            </a:r>
            <a:r>
              <a:rPr lang="en-US" sz="1400" dirty="0" err="1"/>
              <a:t>indikasi</a:t>
            </a:r>
            <a:r>
              <a:rPr lang="en-US" sz="1400" dirty="0"/>
              <a:t> </a:t>
            </a:r>
            <a:r>
              <a:rPr lang="en-US" sz="1400" dirty="0" err="1"/>
              <a:t>skema</a:t>
            </a:r>
            <a:r>
              <a:rPr lang="en-US" sz="1400" dirty="0"/>
              <a:t> </a:t>
            </a:r>
            <a:r>
              <a:rPr lang="en-US" sz="1400" dirty="0" err="1"/>
              <a:t>pendanaan</a:t>
            </a:r>
            <a:r>
              <a:rPr lang="en-US" sz="1400" dirty="0"/>
              <a:t> </a:t>
            </a:r>
            <a:r>
              <a:rPr lang="en-US" sz="1400" dirty="0" err="1"/>
              <a:t>dan</a:t>
            </a:r>
            <a:r>
              <a:rPr lang="en-US" sz="1400" dirty="0"/>
              <a:t> </a:t>
            </a:r>
            <a:r>
              <a:rPr lang="en-US" sz="1400" dirty="0" err="1" smtClean="0"/>
              <a:t>prioritisasi</a:t>
            </a:r>
            <a:r>
              <a:rPr lang="en-US" sz="1400" dirty="0" smtClean="0"/>
              <a:t>.</a:t>
            </a:r>
            <a:endParaRPr lang="en-US" sz="1400" i="1" dirty="0"/>
          </a:p>
        </p:txBody>
      </p:sp>
      <p:pic>
        <p:nvPicPr>
          <p:cNvPr id="30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808" y="3382253"/>
            <a:ext cx="368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5462892" y="3318129"/>
            <a:ext cx="41522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SPAM Semarang Barat:</a:t>
            </a:r>
            <a:endParaRPr lang="en-US" sz="1400" dirty="0" smtClean="0"/>
          </a:p>
          <a:p>
            <a:r>
              <a:rPr lang="en-US" sz="1400" dirty="0" err="1" smtClean="0"/>
              <a:t>Kesepakatan</a:t>
            </a:r>
            <a:r>
              <a:rPr lang="en-US" sz="1400" dirty="0" smtClean="0"/>
              <a:t> </a:t>
            </a:r>
            <a:r>
              <a:rPr lang="en-US" sz="1400" dirty="0" err="1" smtClean="0"/>
              <a:t>skema</a:t>
            </a:r>
            <a:r>
              <a:rPr lang="en-US" sz="1400" dirty="0" smtClean="0"/>
              <a:t> </a:t>
            </a:r>
            <a:r>
              <a:rPr lang="en-US" sz="1400" dirty="0" err="1" smtClean="0"/>
              <a:t>pendanaan</a:t>
            </a:r>
            <a:r>
              <a:rPr lang="en-US" sz="1400" dirty="0" smtClean="0"/>
              <a:t> KPBU </a:t>
            </a:r>
            <a:r>
              <a:rPr lang="en-US" sz="1400" dirty="0" err="1" smtClean="0"/>
              <a:t>oleh</a:t>
            </a:r>
            <a:r>
              <a:rPr lang="en-US" sz="1400" dirty="0" smtClean="0"/>
              <a:t> </a:t>
            </a:r>
            <a:r>
              <a:rPr lang="en-US" sz="1400" dirty="0" err="1" smtClean="0"/>
              <a:t>pemangku</a:t>
            </a:r>
            <a:r>
              <a:rPr lang="en-US" sz="1400" dirty="0" smtClean="0"/>
              <a:t> </a:t>
            </a:r>
            <a:r>
              <a:rPr lang="en-US" sz="1400" dirty="0" err="1" smtClean="0"/>
              <a:t>kepentingan</a:t>
            </a:r>
            <a:r>
              <a:rPr lang="en-US" sz="1400" dirty="0" smtClean="0"/>
              <a:t> </a:t>
            </a:r>
            <a:r>
              <a:rPr lang="en-US" sz="1400" dirty="0" err="1" smtClean="0"/>
              <a:t>proyek</a:t>
            </a:r>
            <a:r>
              <a:rPr lang="en-US" sz="1400" dirty="0"/>
              <a:t>.</a:t>
            </a:r>
            <a:endParaRPr lang="en-US" sz="1400" i="1" dirty="0"/>
          </a:p>
        </p:txBody>
      </p:sp>
      <p:sp>
        <p:nvSpPr>
          <p:cNvPr id="3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10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479345" y="1487388"/>
            <a:ext cx="409315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RDMP </a:t>
            </a:r>
            <a:r>
              <a:rPr lang="en-US" sz="1400" b="1" dirty="0" err="1"/>
              <a:t>Cilacap</a:t>
            </a:r>
            <a:r>
              <a:rPr lang="en-US" sz="1400" b="1" dirty="0"/>
              <a:t>:</a:t>
            </a:r>
            <a:r>
              <a:rPr lang="en-US" sz="1400" dirty="0"/>
              <a:t> </a:t>
            </a:r>
          </a:p>
          <a:p>
            <a:r>
              <a:rPr lang="en-US" sz="1400" dirty="0" err="1" smtClean="0"/>
              <a:t>Penyampaian</a:t>
            </a:r>
            <a:r>
              <a:rPr lang="en-US" sz="1400" dirty="0" smtClean="0"/>
              <a:t> </a:t>
            </a:r>
            <a:r>
              <a:rPr lang="en-US" sz="1400" dirty="0" err="1" smtClean="0"/>
              <a:t>surat</a:t>
            </a:r>
            <a:r>
              <a:rPr lang="en-US" sz="1400" dirty="0" smtClean="0"/>
              <a:t> </a:t>
            </a:r>
            <a:r>
              <a:rPr lang="en-US" sz="1400" dirty="0" err="1"/>
              <a:t>kepada</a:t>
            </a:r>
            <a:r>
              <a:rPr lang="en-US" sz="1400" dirty="0"/>
              <a:t> </a:t>
            </a:r>
            <a:r>
              <a:rPr lang="en-US" sz="1400" dirty="0" err="1"/>
              <a:t>Dirjen</a:t>
            </a:r>
            <a:r>
              <a:rPr lang="en-US" sz="1400" dirty="0"/>
              <a:t> Tata </a:t>
            </a:r>
            <a:r>
              <a:rPr lang="en-US" sz="1400" dirty="0" err="1"/>
              <a:t>Ruang</a:t>
            </a:r>
            <a:r>
              <a:rPr lang="en-US" sz="1400" dirty="0"/>
              <a:t> BPN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menerbitkan</a:t>
            </a:r>
            <a:r>
              <a:rPr lang="en-US" sz="1400" dirty="0"/>
              <a:t> </a:t>
            </a:r>
            <a:r>
              <a:rPr lang="en-US" sz="1400" dirty="0" err="1"/>
              <a:t>rekomendasi</a:t>
            </a:r>
            <a:r>
              <a:rPr lang="en-US" sz="1400" dirty="0"/>
              <a:t> </a:t>
            </a:r>
            <a:r>
              <a:rPr lang="en-US" sz="1400" dirty="0" err="1"/>
              <a:t>kesesuaian</a:t>
            </a:r>
            <a:r>
              <a:rPr lang="en-US" sz="1400" dirty="0"/>
              <a:t> </a:t>
            </a:r>
            <a:r>
              <a:rPr lang="en-US" sz="1400" dirty="0" err="1"/>
              <a:t>tata</a:t>
            </a:r>
            <a:r>
              <a:rPr lang="en-US" sz="1400" dirty="0"/>
              <a:t> </a:t>
            </a:r>
            <a:r>
              <a:rPr lang="en-US" sz="1400" dirty="0" err="1" smtClean="0"/>
              <a:t>ruang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pic>
        <p:nvPicPr>
          <p:cNvPr id="36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150" y="1578107"/>
            <a:ext cx="368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3" name="Chart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674"/>
              </p:ext>
            </p:extLst>
          </p:nvPr>
        </p:nvGraphicFramePr>
        <p:xfrm>
          <a:off x="-123680" y="3575054"/>
          <a:ext cx="3367060" cy="3367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32"/>
          <p:cNvSpPr txBox="1">
            <a:spLocks noChangeArrowheads="1"/>
          </p:cNvSpPr>
          <p:nvPr/>
        </p:nvSpPr>
        <p:spPr bwMode="auto">
          <a:xfrm>
            <a:off x="2967861" y="4371924"/>
            <a:ext cx="2119313" cy="6924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Rp</a:t>
            </a:r>
            <a:r>
              <a:rPr lang="en-US" sz="1300" b="1" dirty="0" smtClean="0"/>
              <a:t> 255 </a:t>
            </a:r>
            <a:r>
              <a:rPr lang="en-US" sz="1300" b="1" dirty="0" err="1" smtClean="0"/>
              <a:t>Triliun</a:t>
            </a:r>
            <a:r>
              <a:rPr lang="en-US" sz="1300" b="1" dirty="0" smtClean="0"/>
              <a:t> APBN/APBD (</a:t>
            </a:r>
            <a:r>
              <a:rPr lang="en-US" sz="1300" b="1" dirty="0" err="1" smtClean="0"/>
              <a:t>termasuk</a:t>
            </a:r>
            <a:r>
              <a:rPr lang="en-US" sz="1300" b="1" dirty="0" smtClean="0"/>
              <a:t> </a:t>
            </a:r>
            <a:r>
              <a:rPr lang="en-US" sz="1300" b="1" dirty="0" err="1" smtClean="0"/>
              <a:t>pinjaman</a:t>
            </a:r>
            <a:r>
              <a:rPr lang="en-US" sz="1300" b="1" dirty="0" smtClean="0"/>
              <a:t>)</a:t>
            </a:r>
            <a:endParaRPr lang="en-US" sz="1300" b="1" dirty="0"/>
          </a:p>
        </p:txBody>
      </p:sp>
      <p:sp>
        <p:nvSpPr>
          <p:cNvPr id="17" name="TextBox 33"/>
          <p:cNvSpPr txBox="1">
            <a:spLocks noChangeArrowheads="1"/>
          </p:cNvSpPr>
          <p:nvPr/>
        </p:nvSpPr>
        <p:spPr bwMode="auto">
          <a:xfrm>
            <a:off x="2951149" y="5143044"/>
            <a:ext cx="2119313" cy="49244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Rp</a:t>
            </a:r>
            <a:r>
              <a:rPr lang="en-US" sz="1300" b="1" dirty="0" smtClean="0"/>
              <a:t> 325 </a:t>
            </a:r>
            <a:r>
              <a:rPr lang="en-US" sz="1300" b="1" dirty="0" err="1" smtClean="0"/>
              <a:t>Triliun</a:t>
            </a:r>
            <a:r>
              <a:rPr lang="en-US" sz="1300" b="1" dirty="0" smtClean="0"/>
              <a:t> BUMN/BUMD</a:t>
            </a:r>
            <a:endParaRPr lang="en-US" sz="1300" b="1" dirty="0"/>
          </a:p>
        </p:txBody>
      </p:sp>
      <p:sp>
        <p:nvSpPr>
          <p:cNvPr id="18" name="TextBox 34"/>
          <p:cNvSpPr txBox="1">
            <a:spLocks noChangeArrowheads="1"/>
          </p:cNvSpPr>
          <p:nvPr/>
        </p:nvSpPr>
        <p:spPr bwMode="auto">
          <a:xfrm>
            <a:off x="2951149" y="5562058"/>
            <a:ext cx="2119313" cy="49244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Rp</a:t>
            </a:r>
            <a:r>
              <a:rPr lang="en-US" sz="1300" b="1" dirty="0" smtClean="0"/>
              <a:t> 770 </a:t>
            </a:r>
            <a:r>
              <a:rPr lang="en-US" sz="1300" b="1" dirty="0" err="1" smtClean="0"/>
              <a:t>Triliun</a:t>
            </a:r>
            <a:r>
              <a:rPr lang="en-US" sz="1300" b="1" dirty="0" smtClean="0"/>
              <a:t> </a:t>
            </a:r>
            <a:r>
              <a:rPr lang="en-US" sz="1300" b="1" dirty="0" err="1" smtClean="0"/>
              <a:t>swasta</a:t>
            </a:r>
            <a:r>
              <a:rPr lang="en-US" sz="1300" b="1" dirty="0" smtClean="0"/>
              <a:t>/KPBU</a:t>
            </a:r>
            <a:endParaRPr lang="en-US" sz="1300" b="1" dirty="0"/>
          </a:p>
        </p:txBody>
      </p:sp>
      <p:graphicFrame>
        <p:nvGraphicFramePr>
          <p:cNvPr id="38" name="Chart 37"/>
          <p:cNvGraphicFramePr/>
          <p:nvPr>
            <p:extLst>
              <p:ext uri="{D42A27DB-BD31-4B8C-83A1-F6EECF244321}">
                <p14:modId xmlns:p14="http://schemas.microsoft.com/office/powerpoint/2010/main" val="80620666"/>
              </p:ext>
            </p:extLst>
          </p:nvPr>
        </p:nvGraphicFramePr>
        <p:xfrm>
          <a:off x="-285666" y="1234377"/>
          <a:ext cx="4755990" cy="2511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Rectangle 38"/>
          <p:cNvSpPr/>
          <p:nvPr/>
        </p:nvSpPr>
        <p:spPr>
          <a:xfrm>
            <a:off x="2700501" y="1946406"/>
            <a:ext cx="1558209" cy="1177925"/>
          </a:xfrm>
          <a:prstGeom prst="rect">
            <a:avLst/>
          </a:prstGeom>
          <a:solidFill>
            <a:srgbClr val="FFFFFF"/>
          </a:solidFill>
        </p:spPr>
        <p:txBody>
          <a:bodyPr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40" name="TextBox 32"/>
          <p:cNvSpPr txBox="1">
            <a:spLocks noChangeArrowheads="1"/>
          </p:cNvSpPr>
          <p:nvPr/>
        </p:nvSpPr>
        <p:spPr bwMode="auto">
          <a:xfrm>
            <a:off x="2704297" y="1911253"/>
            <a:ext cx="2119313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Ditinjau</a:t>
            </a:r>
            <a:r>
              <a:rPr lang="en-US" sz="1300" b="1" dirty="0" smtClean="0"/>
              <a:t> </a:t>
            </a:r>
            <a:r>
              <a:rPr lang="en-US" sz="1300" b="1" dirty="0" err="1" smtClean="0"/>
              <a:t>Ulang</a:t>
            </a:r>
            <a:endParaRPr lang="en-US" sz="1300" b="1" dirty="0"/>
          </a:p>
        </p:txBody>
      </p:sp>
      <p:sp>
        <p:nvSpPr>
          <p:cNvPr id="41" name="TextBox 32"/>
          <p:cNvSpPr txBox="1">
            <a:spLocks noChangeArrowheads="1"/>
          </p:cNvSpPr>
          <p:nvPr/>
        </p:nvSpPr>
        <p:spPr bwMode="auto">
          <a:xfrm>
            <a:off x="2704297" y="2185566"/>
            <a:ext cx="2119313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Penyiapan</a:t>
            </a:r>
            <a:r>
              <a:rPr lang="en-US" sz="1300" b="1" dirty="0" smtClean="0"/>
              <a:t>/</a:t>
            </a:r>
            <a:r>
              <a:rPr lang="en-US" sz="1300" b="1" dirty="0" err="1" smtClean="0"/>
              <a:t>Perencanaan</a:t>
            </a:r>
            <a:endParaRPr lang="en-US" sz="1300" b="1" dirty="0"/>
          </a:p>
        </p:txBody>
      </p:sp>
      <p:sp>
        <p:nvSpPr>
          <p:cNvPr id="42" name="TextBox 32"/>
          <p:cNvSpPr txBox="1">
            <a:spLocks noChangeArrowheads="1"/>
          </p:cNvSpPr>
          <p:nvPr/>
        </p:nvSpPr>
        <p:spPr bwMode="auto">
          <a:xfrm>
            <a:off x="2704297" y="2459879"/>
            <a:ext cx="2119313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Transaksi</a:t>
            </a:r>
            <a:endParaRPr lang="en-US" sz="1300" b="1" dirty="0"/>
          </a:p>
        </p:txBody>
      </p:sp>
      <p:sp>
        <p:nvSpPr>
          <p:cNvPr id="43" name="TextBox 32"/>
          <p:cNvSpPr txBox="1">
            <a:spLocks noChangeArrowheads="1"/>
          </p:cNvSpPr>
          <p:nvPr/>
        </p:nvSpPr>
        <p:spPr bwMode="auto">
          <a:xfrm>
            <a:off x="2704297" y="2787112"/>
            <a:ext cx="1766027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300" b="1" dirty="0" err="1" smtClean="0"/>
              <a:t>Konstruksi</a:t>
            </a:r>
            <a:endParaRPr lang="en-US" sz="1300" b="1" dirty="0"/>
          </a:p>
        </p:txBody>
      </p:sp>
    </p:spTree>
    <p:extLst>
      <p:ext uri="{BB962C8B-B14F-4D97-AF65-F5344CB8AC3E}">
        <p14:creationId xmlns:p14="http://schemas.microsoft.com/office/powerpoint/2010/main" val="890459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1"/>
          <p:cNvSpPr>
            <a:spLocks noChangeArrowheads="1"/>
          </p:cNvSpPr>
          <p:nvPr/>
        </p:nvSpPr>
        <p:spPr bwMode="auto">
          <a:xfrm>
            <a:off x="4595840" y="5186767"/>
            <a:ext cx="507892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300" dirty="0" err="1" smtClean="0"/>
              <a:t>Lelang</a:t>
            </a:r>
            <a:r>
              <a:rPr lang="en-US" sz="1300" dirty="0" smtClean="0"/>
              <a:t> SPAM </a:t>
            </a:r>
            <a:r>
              <a:rPr lang="en-US" sz="1300" dirty="0"/>
              <a:t>Semarang Barat</a:t>
            </a:r>
          </a:p>
          <a:p>
            <a:pPr marL="285750" indent="-285750">
              <a:buFont typeface="Arial"/>
              <a:buChar char="•"/>
            </a:pPr>
            <a:r>
              <a:rPr lang="en-US" sz="1300" dirty="0" err="1" smtClean="0"/>
              <a:t>Lelang</a:t>
            </a:r>
            <a:r>
              <a:rPr lang="en-US" sz="1300" dirty="0" smtClean="0"/>
              <a:t> </a:t>
            </a:r>
            <a:r>
              <a:rPr lang="en-US" sz="1300" dirty="0" err="1" smtClean="0"/>
              <a:t>Sistem</a:t>
            </a:r>
            <a:r>
              <a:rPr lang="en-US" sz="1300" dirty="0" smtClean="0"/>
              <a:t> </a:t>
            </a:r>
            <a:r>
              <a:rPr lang="en-US" sz="1300" dirty="0"/>
              <a:t>Air </a:t>
            </a:r>
            <a:r>
              <a:rPr lang="en-US" sz="1300" dirty="0" err="1"/>
              <a:t>Limbah</a:t>
            </a:r>
            <a:r>
              <a:rPr lang="en-US" sz="1300" dirty="0"/>
              <a:t> Jakarta</a:t>
            </a:r>
          </a:p>
          <a:p>
            <a:pPr marL="285750" indent="-285750">
              <a:buFont typeface="Arial"/>
              <a:buChar char="•"/>
            </a:pPr>
            <a:r>
              <a:rPr lang="en-US" sz="1300" dirty="0" err="1" smtClean="0"/>
              <a:t>Lelang</a:t>
            </a:r>
            <a:r>
              <a:rPr lang="en-US" sz="1300" dirty="0" smtClean="0"/>
              <a:t> </a:t>
            </a:r>
            <a:r>
              <a:rPr lang="en-US" sz="1300" dirty="0" err="1" smtClean="0"/>
              <a:t>Pelabuhan</a:t>
            </a:r>
            <a:r>
              <a:rPr lang="en-US" sz="1300" dirty="0" smtClean="0"/>
              <a:t> </a:t>
            </a:r>
            <a:r>
              <a:rPr lang="en-US" sz="1300" dirty="0" err="1"/>
              <a:t>Internasional</a:t>
            </a:r>
            <a:r>
              <a:rPr lang="en-US" sz="1300" dirty="0"/>
              <a:t> Hub. Kuala </a:t>
            </a:r>
            <a:r>
              <a:rPr lang="en-US" sz="1300" dirty="0" err="1"/>
              <a:t>Tanjung</a:t>
            </a:r>
            <a:endParaRPr lang="en-US" sz="1300" dirty="0"/>
          </a:p>
          <a:p>
            <a:pPr marL="285750" indent="-285750">
              <a:buFont typeface="Arial"/>
              <a:buChar char="•"/>
            </a:pPr>
            <a:r>
              <a:rPr lang="en-US" sz="1300" dirty="0" err="1" smtClean="0"/>
              <a:t>Pendanaan</a:t>
            </a:r>
            <a:r>
              <a:rPr lang="en-US" sz="1300" dirty="0" smtClean="0"/>
              <a:t> </a:t>
            </a:r>
            <a:r>
              <a:rPr lang="en-US" sz="1300" i="1" dirty="0" smtClean="0"/>
              <a:t>Limited </a:t>
            </a:r>
            <a:r>
              <a:rPr lang="en-US" sz="1300" i="1" dirty="0"/>
              <a:t>Concession Scheme</a:t>
            </a:r>
            <a:r>
              <a:rPr lang="en-US" sz="1300" dirty="0"/>
              <a:t> </a:t>
            </a:r>
            <a:r>
              <a:rPr lang="en-US" sz="1300" dirty="0" err="1"/>
              <a:t>untuk</a:t>
            </a:r>
            <a:r>
              <a:rPr lang="en-US" sz="1300" dirty="0"/>
              <a:t> </a:t>
            </a:r>
            <a:r>
              <a:rPr lang="en-US" sz="1300" dirty="0" err="1"/>
              <a:t>Bandara</a:t>
            </a:r>
            <a:r>
              <a:rPr lang="en-US" sz="1300" dirty="0"/>
              <a:t> Medan, Makassar, Balikpapan </a:t>
            </a:r>
            <a:r>
              <a:rPr lang="en-US" sz="1300" dirty="0" err="1"/>
              <a:t>dan</a:t>
            </a:r>
            <a:r>
              <a:rPr lang="en-US" sz="1300" dirty="0"/>
              <a:t> </a:t>
            </a:r>
            <a:r>
              <a:rPr lang="en-US" sz="1300" dirty="0" err="1"/>
              <a:t>Soetta</a:t>
            </a:r>
            <a:endParaRPr lang="en-US" sz="1300" dirty="0"/>
          </a:p>
          <a:p>
            <a:pPr marL="285750" indent="-285750">
              <a:buFont typeface="Arial"/>
              <a:buChar char="•"/>
            </a:pPr>
            <a:r>
              <a:rPr lang="en-US" sz="1300" dirty="0" err="1" smtClean="0"/>
              <a:t>Pendanaan</a:t>
            </a:r>
            <a:r>
              <a:rPr lang="en-US" sz="1300" dirty="0" smtClean="0"/>
              <a:t> PINA </a:t>
            </a:r>
            <a:r>
              <a:rPr lang="en-US" sz="1300" dirty="0"/>
              <a:t>(</a:t>
            </a:r>
            <a:r>
              <a:rPr lang="en-US" sz="1300" dirty="0" err="1"/>
              <a:t>Jalan</a:t>
            </a:r>
            <a:r>
              <a:rPr lang="en-US" sz="1300" dirty="0"/>
              <a:t> </a:t>
            </a:r>
            <a:r>
              <a:rPr lang="en-US" sz="1300" dirty="0" err="1"/>
              <a:t>Tol</a:t>
            </a:r>
            <a:r>
              <a:rPr lang="en-US" sz="1300" dirty="0"/>
              <a:t> </a:t>
            </a:r>
            <a:r>
              <a:rPr lang="en-US" sz="1300" dirty="0" err="1"/>
              <a:t>dan</a:t>
            </a:r>
            <a:r>
              <a:rPr lang="en-US" sz="1300" dirty="0"/>
              <a:t> </a:t>
            </a:r>
            <a:r>
              <a:rPr lang="en-US" sz="1300" dirty="0" err="1"/>
              <a:t>Pembangkit</a:t>
            </a:r>
            <a:r>
              <a:rPr lang="en-US" sz="1300" dirty="0"/>
              <a:t> </a:t>
            </a:r>
            <a:r>
              <a:rPr lang="en-US" sz="1300" dirty="0" err="1"/>
              <a:t>Listrik</a:t>
            </a:r>
            <a:r>
              <a:rPr lang="en-US" sz="1300" dirty="0" smtClean="0"/>
              <a:t>)</a:t>
            </a:r>
            <a:endParaRPr lang="id-ID" sz="1300" dirty="0"/>
          </a:p>
        </p:txBody>
      </p:sp>
      <p:sp>
        <p:nvSpPr>
          <p:cNvPr id="17410" name="Rectangle 21"/>
          <p:cNvSpPr>
            <a:spLocks noChangeArrowheads="1"/>
          </p:cNvSpPr>
          <p:nvPr/>
        </p:nvSpPr>
        <p:spPr bwMode="auto">
          <a:xfrm>
            <a:off x="5193310" y="1378741"/>
            <a:ext cx="386861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300" dirty="0" err="1"/>
              <a:t>Penandatanganan</a:t>
            </a:r>
            <a:r>
              <a:rPr lang="en-US" sz="1300" dirty="0"/>
              <a:t> </a:t>
            </a:r>
            <a:r>
              <a:rPr lang="en-US" sz="1300" dirty="0" err="1"/>
              <a:t>perjanjian</a:t>
            </a:r>
            <a:r>
              <a:rPr lang="en-US" sz="1300" dirty="0"/>
              <a:t> </a:t>
            </a:r>
            <a:r>
              <a:rPr lang="id-ID" sz="1300" dirty="0"/>
              <a:t>KPBU</a:t>
            </a:r>
            <a:r>
              <a:rPr lang="en-US" sz="1300" dirty="0"/>
              <a:t> </a:t>
            </a:r>
            <a:r>
              <a:rPr lang="en-US" sz="1300" dirty="0" err="1"/>
              <a:t>dan</a:t>
            </a:r>
            <a:r>
              <a:rPr lang="en-US" sz="1300" dirty="0"/>
              <a:t> </a:t>
            </a:r>
            <a:r>
              <a:rPr lang="en-US" sz="1300" i="1" dirty="0"/>
              <a:t>Financial Close </a:t>
            </a:r>
            <a:r>
              <a:rPr lang="en-US" sz="1300" dirty="0" err="1"/>
              <a:t>untuk</a:t>
            </a:r>
            <a:r>
              <a:rPr lang="en-US" sz="1300" b="1" dirty="0"/>
              <a:t> SPAM </a:t>
            </a:r>
            <a:r>
              <a:rPr lang="en-US" sz="1300" b="1" dirty="0" err="1" smtClean="0"/>
              <a:t>Umbulan</a:t>
            </a:r>
            <a:r>
              <a:rPr lang="en-US" sz="1300" b="1" dirty="0" smtClean="0"/>
              <a:t> (Rp4,5 T)</a:t>
            </a:r>
            <a:r>
              <a:rPr lang="en-US" sz="1300" dirty="0" smtClean="0"/>
              <a:t> </a:t>
            </a:r>
            <a:endParaRPr lang="en-US" sz="1300" i="1" dirty="0"/>
          </a:p>
        </p:txBody>
      </p:sp>
      <p:sp>
        <p:nvSpPr>
          <p:cNvPr id="17411" name="Rectangle 22"/>
          <p:cNvSpPr>
            <a:spLocks noChangeArrowheads="1"/>
          </p:cNvSpPr>
          <p:nvPr/>
        </p:nvSpPr>
        <p:spPr bwMode="auto">
          <a:xfrm>
            <a:off x="5251925" y="2044805"/>
            <a:ext cx="350813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300" i="1" dirty="0"/>
              <a:t>Financial Close </a:t>
            </a:r>
            <a:r>
              <a:rPr lang="en-US" sz="1300" b="1" dirty="0"/>
              <a:t>PLTU </a:t>
            </a:r>
            <a:r>
              <a:rPr lang="en-US" sz="1300" b="1" dirty="0" err="1" smtClean="0"/>
              <a:t>Batang</a:t>
            </a:r>
            <a:r>
              <a:rPr lang="en-US" sz="1300" b="1" dirty="0" smtClean="0"/>
              <a:t> (Rp40 T)</a:t>
            </a:r>
            <a:endParaRPr lang="en-US" sz="1300" b="1" dirty="0"/>
          </a:p>
        </p:txBody>
      </p:sp>
      <p:sp>
        <p:nvSpPr>
          <p:cNvPr id="104" name="Freeform 6"/>
          <p:cNvSpPr>
            <a:spLocks/>
          </p:cNvSpPr>
          <p:nvPr/>
        </p:nvSpPr>
        <p:spPr bwMode="auto">
          <a:xfrm>
            <a:off x="1498207" y="1563740"/>
            <a:ext cx="1059474" cy="1293812"/>
          </a:xfrm>
          <a:custGeom>
            <a:avLst/>
            <a:gdLst/>
            <a:ahLst/>
            <a:cxnLst>
              <a:cxn ang="0">
                <a:pos x="296" y="0"/>
              </a:cxn>
              <a:cxn ang="0">
                <a:pos x="331" y="2"/>
              </a:cxn>
              <a:cxn ang="0">
                <a:pos x="367" y="9"/>
              </a:cxn>
              <a:cxn ang="0">
                <a:pos x="405" y="23"/>
              </a:cxn>
              <a:cxn ang="0">
                <a:pos x="444" y="41"/>
              </a:cxn>
              <a:cxn ang="0">
                <a:pos x="482" y="64"/>
              </a:cxn>
              <a:cxn ang="0">
                <a:pos x="521" y="91"/>
              </a:cxn>
              <a:cxn ang="0">
                <a:pos x="560" y="120"/>
              </a:cxn>
              <a:cxn ang="0">
                <a:pos x="598" y="152"/>
              </a:cxn>
              <a:cxn ang="0">
                <a:pos x="635" y="186"/>
              </a:cxn>
              <a:cxn ang="0">
                <a:pos x="670" y="221"/>
              </a:cxn>
              <a:cxn ang="0">
                <a:pos x="704" y="257"/>
              </a:cxn>
              <a:cxn ang="0">
                <a:pos x="736" y="293"/>
              </a:cxn>
              <a:cxn ang="0">
                <a:pos x="764" y="327"/>
              </a:cxn>
              <a:cxn ang="0">
                <a:pos x="791" y="361"/>
              </a:cxn>
              <a:cxn ang="0">
                <a:pos x="813" y="392"/>
              </a:cxn>
              <a:cxn ang="0">
                <a:pos x="640" y="917"/>
              </a:cxn>
              <a:cxn ang="0">
                <a:pos x="0" y="464"/>
              </a:cxn>
              <a:cxn ang="0">
                <a:pos x="1" y="460"/>
              </a:cxn>
              <a:cxn ang="0">
                <a:pos x="4" y="450"/>
              </a:cxn>
              <a:cxn ang="0">
                <a:pos x="8" y="434"/>
              </a:cxn>
              <a:cxn ang="0">
                <a:pos x="14" y="411"/>
              </a:cxn>
              <a:cxn ang="0">
                <a:pos x="21" y="386"/>
              </a:cxn>
              <a:cxn ang="0">
                <a:pos x="30" y="356"/>
              </a:cxn>
              <a:cxn ang="0">
                <a:pos x="41" y="323"/>
              </a:cxn>
              <a:cxn ang="0">
                <a:pos x="54" y="289"/>
              </a:cxn>
              <a:cxn ang="0">
                <a:pos x="68" y="253"/>
              </a:cxn>
              <a:cxn ang="0">
                <a:pos x="84" y="216"/>
              </a:cxn>
              <a:cxn ang="0">
                <a:pos x="102" y="181"/>
              </a:cxn>
              <a:cxn ang="0">
                <a:pos x="120" y="146"/>
              </a:cxn>
              <a:cxn ang="0">
                <a:pos x="140" y="113"/>
              </a:cxn>
              <a:cxn ang="0">
                <a:pos x="162" y="83"/>
              </a:cxn>
              <a:cxn ang="0">
                <a:pos x="185" y="57"/>
              </a:cxn>
              <a:cxn ang="0">
                <a:pos x="209" y="34"/>
              </a:cxn>
              <a:cxn ang="0">
                <a:pos x="236" y="17"/>
              </a:cxn>
              <a:cxn ang="0">
                <a:pos x="263" y="5"/>
              </a:cxn>
              <a:cxn ang="0">
                <a:pos x="296" y="0"/>
              </a:cxn>
            </a:cxnLst>
            <a:rect l="0" t="0" r="r" b="b"/>
            <a:pathLst>
              <a:path w="813" h="917">
                <a:moveTo>
                  <a:pt x="296" y="0"/>
                </a:moveTo>
                <a:lnTo>
                  <a:pt x="331" y="2"/>
                </a:lnTo>
                <a:lnTo>
                  <a:pt x="367" y="9"/>
                </a:lnTo>
                <a:lnTo>
                  <a:pt x="405" y="23"/>
                </a:lnTo>
                <a:lnTo>
                  <a:pt x="444" y="41"/>
                </a:lnTo>
                <a:lnTo>
                  <a:pt x="482" y="64"/>
                </a:lnTo>
                <a:lnTo>
                  <a:pt x="521" y="91"/>
                </a:lnTo>
                <a:lnTo>
                  <a:pt x="560" y="120"/>
                </a:lnTo>
                <a:lnTo>
                  <a:pt x="598" y="152"/>
                </a:lnTo>
                <a:lnTo>
                  <a:pt x="635" y="186"/>
                </a:lnTo>
                <a:lnTo>
                  <a:pt x="670" y="221"/>
                </a:lnTo>
                <a:lnTo>
                  <a:pt x="704" y="257"/>
                </a:lnTo>
                <a:lnTo>
                  <a:pt x="736" y="293"/>
                </a:lnTo>
                <a:lnTo>
                  <a:pt x="764" y="327"/>
                </a:lnTo>
                <a:lnTo>
                  <a:pt x="791" y="361"/>
                </a:lnTo>
                <a:lnTo>
                  <a:pt x="813" y="392"/>
                </a:lnTo>
                <a:lnTo>
                  <a:pt x="640" y="917"/>
                </a:lnTo>
                <a:lnTo>
                  <a:pt x="0" y="464"/>
                </a:lnTo>
                <a:lnTo>
                  <a:pt x="1" y="460"/>
                </a:lnTo>
                <a:lnTo>
                  <a:pt x="4" y="450"/>
                </a:lnTo>
                <a:lnTo>
                  <a:pt x="8" y="434"/>
                </a:lnTo>
                <a:lnTo>
                  <a:pt x="14" y="411"/>
                </a:lnTo>
                <a:lnTo>
                  <a:pt x="21" y="386"/>
                </a:lnTo>
                <a:lnTo>
                  <a:pt x="30" y="356"/>
                </a:lnTo>
                <a:lnTo>
                  <a:pt x="41" y="323"/>
                </a:lnTo>
                <a:lnTo>
                  <a:pt x="54" y="289"/>
                </a:lnTo>
                <a:lnTo>
                  <a:pt x="68" y="253"/>
                </a:lnTo>
                <a:lnTo>
                  <a:pt x="84" y="216"/>
                </a:lnTo>
                <a:lnTo>
                  <a:pt x="102" y="181"/>
                </a:lnTo>
                <a:lnTo>
                  <a:pt x="120" y="146"/>
                </a:lnTo>
                <a:lnTo>
                  <a:pt x="140" y="113"/>
                </a:lnTo>
                <a:lnTo>
                  <a:pt x="162" y="83"/>
                </a:lnTo>
                <a:lnTo>
                  <a:pt x="185" y="57"/>
                </a:lnTo>
                <a:lnTo>
                  <a:pt x="209" y="34"/>
                </a:lnTo>
                <a:lnTo>
                  <a:pt x="236" y="17"/>
                </a:lnTo>
                <a:lnTo>
                  <a:pt x="263" y="5"/>
                </a:lnTo>
                <a:lnTo>
                  <a:pt x="296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81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105" name="Freeform 10"/>
          <p:cNvSpPr>
            <a:spLocks/>
          </p:cNvSpPr>
          <p:nvPr/>
        </p:nvSpPr>
        <p:spPr bwMode="auto">
          <a:xfrm>
            <a:off x="1495276" y="4448231"/>
            <a:ext cx="1059474" cy="1293813"/>
          </a:xfrm>
          <a:custGeom>
            <a:avLst/>
            <a:gdLst/>
            <a:ahLst/>
            <a:cxnLst>
              <a:cxn ang="0">
                <a:pos x="640" y="0"/>
              </a:cxn>
              <a:cxn ang="0">
                <a:pos x="813" y="525"/>
              </a:cxn>
              <a:cxn ang="0">
                <a:pos x="791" y="557"/>
              </a:cxn>
              <a:cxn ang="0">
                <a:pos x="764" y="590"/>
              </a:cxn>
              <a:cxn ang="0">
                <a:pos x="736" y="624"/>
              </a:cxn>
              <a:cxn ang="0">
                <a:pos x="704" y="661"/>
              </a:cxn>
              <a:cxn ang="0">
                <a:pos x="670" y="696"/>
              </a:cxn>
              <a:cxn ang="0">
                <a:pos x="635" y="731"/>
              </a:cxn>
              <a:cxn ang="0">
                <a:pos x="598" y="765"/>
              </a:cxn>
              <a:cxn ang="0">
                <a:pos x="560" y="798"/>
              </a:cxn>
              <a:cxn ang="0">
                <a:pos x="521" y="827"/>
              </a:cxn>
              <a:cxn ang="0">
                <a:pos x="482" y="853"/>
              </a:cxn>
              <a:cxn ang="0">
                <a:pos x="444" y="877"/>
              </a:cxn>
              <a:cxn ang="0">
                <a:pos x="405" y="894"/>
              </a:cxn>
              <a:cxn ang="0">
                <a:pos x="367" y="908"/>
              </a:cxn>
              <a:cxn ang="0">
                <a:pos x="331" y="916"/>
              </a:cxn>
              <a:cxn ang="0">
                <a:pos x="296" y="917"/>
              </a:cxn>
              <a:cxn ang="0">
                <a:pos x="263" y="912"/>
              </a:cxn>
              <a:cxn ang="0">
                <a:pos x="236" y="901"/>
              </a:cxn>
              <a:cxn ang="0">
                <a:pos x="209" y="884"/>
              </a:cxn>
              <a:cxn ang="0">
                <a:pos x="185" y="862"/>
              </a:cxn>
              <a:cxn ang="0">
                <a:pos x="162" y="835"/>
              </a:cxn>
              <a:cxn ang="0">
                <a:pos x="140" y="805"/>
              </a:cxn>
              <a:cxn ang="0">
                <a:pos x="120" y="773"/>
              </a:cxn>
              <a:cxn ang="0">
                <a:pos x="102" y="737"/>
              </a:cxn>
              <a:cxn ang="0">
                <a:pos x="84" y="702"/>
              </a:cxn>
              <a:cxn ang="0">
                <a:pos x="68" y="666"/>
              </a:cxn>
              <a:cxn ang="0">
                <a:pos x="54" y="629"/>
              </a:cxn>
              <a:cxn ang="0">
                <a:pos x="41" y="595"/>
              </a:cxn>
              <a:cxn ang="0">
                <a:pos x="30" y="563"/>
              </a:cxn>
              <a:cxn ang="0">
                <a:pos x="21" y="533"/>
              </a:cxn>
              <a:cxn ang="0">
                <a:pos x="14" y="508"/>
              </a:cxn>
              <a:cxn ang="0">
                <a:pos x="8" y="485"/>
              </a:cxn>
              <a:cxn ang="0">
                <a:pos x="4" y="469"/>
              </a:cxn>
              <a:cxn ang="0">
                <a:pos x="1" y="459"/>
              </a:cxn>
              <a:cxn ang="0">
                <a:pos x="0" y="455"/>
              </a:cxn>
              <a:cxn ang="0">
                <a:pos x="640" y="0"/>
              </a:cxn>
            </a:cxnLst>
            <a:rect l="0" t="0" r="r" b="b"/>
            <a:pathLst>
              <a:path w="813" h="917">
                <a:moveTo>
                  <a:pt x="640" y="0"/>
                </a:moveTo>
                <a:lnTo>
                  <a:pt x="813" y="525"/>
                </a:lnTo>
                <a:lnTo>
                  <a:pt x="791" y="557"/>
                </a:lnTo>
                <a:lnTo>
                  <a:pt x="764" y="590"/>
                </a:lnTo>
                <a:lnTo>
                  <a:pt x="736" y="624"/>
                </a:lnTo>
                <a:lnTo>
                  <a:pt x="704" y="661"/>
                </a:lnTo>
                <a:lnTo>
                  <a:pt x="670" y="696"/>
                </a:lnTo>
                <a:lnTo>
                  <a:pt x="635" y="731"/>
                </a:lnTo>
                <a:lnTo>
                  <a:pt x="598" y="765"/>
                </a:lnTo>
                <a:lnTo>
                  <a:pt x="560" y="798"/>
                </a:lnTo>
                <a:lnTo>
                  <a:pt x="521" y="827"/>
                </a:lnTo>
                <a:lnTo>
                  <a:pt x="482" y="853"/>
                </a:lnTo>
                <a:lnTo>
                  <a:pt x="444" y="877"/>
                </a:lnTo>
                <a:lnTo>
                  <a:pt x="405" y="894"/>
                </a:lnTo>
                <a:lnTo>
                  <a:pt x="367" y="908"/>
                </a:lnTo>
                <a:lnTo>
                  <a:pt x="331" y="916"/>
                </a:lnTo>
                <a:lnTo>
                  <a:pt x="296" y="917"/>
                </a:lnTo>
                <a:lnTo>
                  <a:pt x="263" y="912"/>
                </a:lnTo>
                <a:lnTo>
                  <a:pt x="236" y="901"/>
                </a:lnTo>
                <a:lnTo>
                  <a:pt x="209" y="884"/>
                </a:lnTo>
                <a:lnTo>
                  <a:pt x="185" y="862"/>
                </a:lnTo>
                <a:lnTo>
                  <a:pt x="162" y="835"/>
                </a:lnTo>
                <a:lnTo>
                  <a:pt x="140" y="805"/>
                </a:lnTo>
                <a:lnTo>
                  <a:pt x="120" y="773"/>
                </a:lnTo>
                <a:lnTo>
                  <a:pt x="102" y="737"/>
                </a:lnTo>
                <a:lnTo>
                  <a:pt x="84" y="702"/>
                </a:lnTo>
                <a:lnTo>
                  <a:pt x="68" y="666"/>
                </a:lnTo>
                <a:lnTo>
                  <a:pt x="54" y="629"/>
                </a:lnTo>
                <a:lnTo>
                  <a:pt x="41" y="595"/>
                </a:lnTo>
                <a:lnTo>
                  <a:pt x="30" y="563"/>
                </a:lnTo>
                <a:lnTo>
                  <a:pt x="21" y="533"/>
                </a:lnTo>
                <a:lnTo>
                  <a:pt x="14" y="508"/>
                </a:lnTo>
                <a:lnTo>
                  <a:pt x="8" y="485"/>
                </a:lnTo>
                <a:lnTo>
                  <a:pt x="4" y="469"/>
                </a:lnTo>
                <a:lnTo>
                  <a:pt x="1" y="459"/>
                </a:lnTo>
                <a:lnTo>
                  <a:pt x="0" y="455"/>
                </a:lnTo>
                <a:lnTo>
                  <a:pt x="64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 Narrow" panose="020B0606020202030204" pitchFamily="34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106" name="Oval 105"/>
          <p:cNvSpPr/>
          <p:nvPr/>
        </p:nvSpPr>
        <p:spPr>
          <a:xfrm>
            <a:off x="1537773" y="5229277"/>
            <a:ext cx="2438400" cy="355600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55000"/>
                </a:scheme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en-AU" sz="18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7416" name="Freeform 7"/>
          <p:cNvSpPr>
            <a:spLocks/>
          </p:cNvSpPr>
          <p:nvPr/>
        </p:nvSpPr>
        <p:spPr bwMode="auto">
          <a:xfrm>
            <a:off x="1718017" y="1557390"/>
            <a:ext cx="2435469" cy="1598612"/>
          </a:xfrm>
          <a:custGeom>
            <a:avLst/>
            <a:gdLst>
              <a:gd name="T0" fmla="*/ 2147483647 w 1869"/>
              <a:gd name="T1" fmla="*/ 0 h 1133"/>
              <a:gd name="T2" fmla="*/ 2147483647 w 1869"/>
              <a:gd name="T3" fmla="*/ 2147483647 h 1133"/>
              <a:gd name="T4" fmla="*/ 2147483647 w 1869"/>
              <a:gd name="T5" fmla="*/ 2147483647 h 1133"/>
              <a:gd name="T6" fmla="*/ 2147483647 w 1869"/>
              <a:gd name="T7" fmla="*/ 2147483647 h 1133"/>
              <a:gd name="T8" fmla="*/ 2147483647 w 1869"/>
              <a:gd name="T9" fmla="*/ 2147483647 h 1133"/>
              <a:gd name="T10" fmla="*/ 2147483647 w 1869"/>
              <a:gd name="T11" fmla="*/ 2147483647 h 1133"/>
              <a:gd name="T12" fmla="*/ 2147483647 w 1869"/>
              <a:gd name="T13" fmla="*/ 2147483647 h 1133"/>
              <a:gd name="T14" fmla="*/ 2147483647 w 1869"/>
              <a:gd name="T15" fmla="*/ 2147483647 h 1133"/>
              <a:gd name="T16" fmla="*/ 2147483647 w 1869"/>
              <a:gd name="T17" fmla="*/ 2147483647 h 1133"/>
              <a:gd name="T18" fmla="*/ 2147483647 w 1869"/>
              <a:gd name="T19" fmla="*/ 2147483647 h 1133"/>
              <a:gd name="T20" fmla="*/ 2147483647 w 1869"/>
              <a:gd name="T21" fmla="*/ 2147483647 h 1133"/>
              <a:gd name="T22" fmla="*/ 2147483647 w 1869"/>
              <a:gd name="T23" fmla="*/ 2147483647 h 1133"/>
              <a:gd name="T24" fmla="*/ 2147483647 w 1869"/>
              <a:gd name="T25" fmla="*/ 2147483647 h 1133"/>
              <a:gd name="T26" fmla="*/ 2147483647 w 1869"/>
              <a:gd name="T27" fmla="*/ 2147483647 h 1133"/>
              <a:gd name="T28" fmla="*/ 2147483647 w 1869"/>
              <a:gd name="T29" fmla="*/ 2147483647 h 1133"/>
              <a:gd name="T30" fmla="*/ 2147483647 w 1869"/>
              <a:gd name="T31" fmla="*/ 2147483647 h 1133"/>
              <a:gd name="T32" fmla="*/ 2147483647 w 1869"/>
              <a:gd name="T33" fmla="*/ 2147483647 h 1133"/>
              <a:gd name="T34" fmla="*/ 2147483647 w 1869"/>
              <a:gd name="T35" fmla="*/ 2147483647 h 1133"/>
              <a:gd name="T36" fmla="*/ 2147483647 w 1869"/>
              <a:gd name="T37" fmla="*/ 2147483647 h 1133"/>
              <a:gd name="T38" fmla="*/ 2147483647 w 1869"/>
              <a:gd name="T39" fmla="*/ 2147483647 h 1133"/>
              <a:gd name="T40" fmla="*/ 2147483647 w 1869"/>
              <a:gd name="T41" fmla="*/ 2147483647 h 1133"/>
              <a:gd name="T42" fmla="*/ 2147483647 w 1869"/>
              <a:gd name="T43" fmla="*/ 2147483647 h 1133"/>
              <a:gd name="T44" fmla="*/ 2147483647 w 1869"/>
              <a:gd name="T45" fmla="*/ 2147483647 h 1133"/>
              <a:gd name="T46" fmla="*/ 2147483647 w 1869"/>
              <a:gd name="T47" fmla="*/ 2147483647 h 1133"/>
              <a:gd name="T48" fmla="*/ 2147483647 w 1869"/>
              <a:gd name="T49" fmla="*/ 2147483647 h 1133"/>
              <a:gd name="T50" fmla="*/ 2147483647 w 1869"/>
              <a:gd name="T51" fmla="*/ 2147483647 h 1133"/>
              <a:gd name="T52" fmla="*/ 2147483647 w 1869"/>
              <a:gd name="T53" fmla="*/ 2147483647 h 1133"/>
              <a:gd name="T54" fmla="*/ 2147483647 w 1869"/>
              <a:gd name="T55" fmla="*/ 2147483647 h 1133"/>
              <a:gd name="T56" fmla="*/ 2147483647 w 1869"/>
              <a:gd name="T57" fmla="*/ 2147483647 h 1133"/>
              <a:gd name="T58" fmla="*/ 2147483647 w 1869"/>
              <a:gd name="T59" fmla="*/ 2147483647 h 1133"/>
              <a:gd name="T60" fmla="*/ 2147483647 w 1869"/>
              <a:gd name="T61" fmla="*/ 2147483647 h 1133"/>
              <a:gd name="T62" fmla="*/ 2147483647 w 1869"/>
              <a:gd name="T63" fmla="*/ 2147483647 h 1133"/>
              <a:gd name="T64" fmla="*/ 2147483647 w 1869"/>
              <a:gd name="T65" fmla="*/ 2147483647 h 1133"/>
              <a:gd name="T66" fmla="*/ 2147483647 w 1869"/>
              <a:gd name="T67" fmla="*/ 2147483647 h 1133"/>
              <a:gd name="T68" fmla="*/ 2147483647 w 1869"/>
              <a:gd name="T69" fmla="*/ 2147483647 h 1133"/>
              <a:gd name="T70" fmla="*/ 2147483647 w 1869"/>
              <a:gd name="T71" fmla="*/ 2147483647 h 1133"/>
              <a:gd name="T72" fmla="*/ 2147483647 w 1869"/>
              <a:gd name="T73" fmla="*/ 2147483647 h 1133"/>
              <a:gd name="T74" fmla="*/ 2147483647 w 1869"/>
              <a:gd name="T75" fmla="*/ 2147483647 h 1133"/>
              <a:gd name="T76" fmla="*/ 2147483647 w 1869"/>
              <a:gd name="T77" fmla="*/ 2147483647 h 1133"/>
              <a:gd name="T78" fmla="*/ 2147483647 w 1869"/>
              <a:gd name="T79" fmla="*/ 2147483647 h 1133"/>
              <a:gd name="T80" fmla="*/ 2147483647 w 1869"/>
              <a:gd name="T81" fmla="*/ 2147483647 h 1133"/>
              <a:gd name="T82" fmla="*/ 2147483647 w 1869"/>
              <a:gd name="T83" fmla="*/ 2147483647 h 113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9"/>
              <a:gd name="T127" fmla="*/ 0 h 1133"/>
              <a:gd name="T128" fmla="*/ 1869 w 1869"/>
              <a:gd name="T129" fmla="*/ 1133 h 113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9" h="1133">
                <a:moveTo>
                  <a:pt x="156" y="0"/>
                </a:moveTo>
                <a:lnTo>
                  <a:pt x="1233" y="0"/>
                </a:lnTo>
                <a:lnTo>
                  <a:pt x="1241" y="2"/>
                </a:lnTo>
                <a:lnTo>
                  <a:pt x="1251" y="4"/>
                </a:lnTo>
                <a:lnTo>
                  <a:pt x="1263" y="10"/>
                </a:lnTo>
                <a:lnTo>
                  <a:pt x="1280" y="19"/>
                </a:lnTo>
                <a:lnTo>
                  <a:pt x="1298" y="32"/>
                </a:lnTo>
                <a:lnTo>
                  <a:pt x="1319" y="49"/>
                </a:lnTo>
                <a:lnTo>
                  <a:pt x="1391" y="122"/>
                </a:lnTo>
                <a:lnTo>
                  <a:pt x="1411" y="143"/>
                </a:lnTo>
                <a:lnTo>
                  <a:pt x="1435" y="166"/>
                </a:lnTo>
                <a:lnTo>
                  <a:pt x="1459" y="190"/>
                </a:lnTo>
                <a:lnTo>
                  <a:pt x="1484" y="214"/>
                </a:lnTo>
                <a:lnTo>
                  <a:pt x="1534" y="264"/>
                </a:lnTo>
                <a:lnTo>
                  <a:pt x="1559" y="288"/>
                </a:lnTo>
                <a:lnTo>
                  <a:pt x="1583" y="312"/>
                </a:lnTo>
                <a:lnTo>
                  <a:pt x="1607" y="333"/>
                </a:lnTo>
                <a:lnTo>
                  <a:pt x="1627" y="354"/>
                </a:lnTo>
                <a:lnTo>
                  <a:pt x="1647" y="372"/>
                </a:lnTo>
                <a:lnTo>
                  <a:pt x="1663" y="388"/>
                </a:lnTo>
                <a:lnTo>
                  <a:pt x="1677" y="401"/>
                </a:lnTo>
                <a:lnTo>
                  <a:pt x="1696" y="420"/>
                </a:lnTo>
                <a:lnTo>
                  <a:pt x="1790" y="324"/>
                </a:lnTo>
                <a:lnTo>
                  <a:pt x="1791" y="324"/>
                </a:lnTo>
                <a:lnTo>
                  <a:pt x="1796" y="323"/>
                </a:lnTo>
                <a:lnTo>
                  <a:pt x="1803" y="322"/>
                </a:lnTo>
                <a:lnTo>
                  <a:pt x="1812" y="321"/>
                </a:lnTo>
                <a:lnTo>
                  <a:pt x="1822" y="321"/>
                </a:lnTo>
                <a:lnTo>
                  <a:pt x="1832" y="323"/>
                </a:lnTo>
                <a:lnTo>
                  <a:pt x="1842" y="328"/>
                </a:lnTo>
                <a:lnTo>
                  <a:pt x="1852" y="336"/>
                </a:lnTo>
                <a:lnTo>
                  <a:pt x="1860" y="348"/>
                </a:lnTo>
                <a:lnTo>
                  <a:pt x="1865" y="363"/>
                </a:lnTo>
                <a:lnTo>
                  <a:pt x="1867" y="385"/>
                </a:lnTo>
                <a:lnTo>
                  <a:pt x="1867" y="402"/>
                </a:lnTo>
                <a:lnTo>
                  <a:pt x="1869" y="427"/>
                </a:lnTo>
                <a:lnTo>
                  <a:pt x="1869" y="873"/>
                </a:lnTo>
                <a:lnTo>
                  <a:pt x="1867" y="917"/>
                </a:lnTo>
                <a:lnTo>
                  <a:pt x="1867" y="1060"/>
                </a:lnTo>
                <a:lnTo>
                  <a:pt x="1866" y="1065"/>
                </a:lnTo>
                <a:lnTo>
                  <a:pt x="1865" y="1074"/>
                </a:lnTo>
                <a:lnTo>
                  <a:pt x="1862" y="1084"/>
                </a:lnTo>
                <a:lnTo>
                  <a:pt x="1857" y="1095"/>
                </a:lnTo>
                <a:lnTo>
                  <a:pt x="1851" y="1107"/>
                </a:lnTo>
                <a:lnTo>
                  <a:pt x="1842" y="1117"/>
                </a:lnTo>
                <a:lnTo>
                  <a:pt x="1831" y="1126"/>
                </a:lnTo>
                <a:lnTo>
                  <a:pt x="1816" y="1131"/>
                </a:lnTo>
                <a:lnTo>
                  <a:pt x="1798" y="1133"/>
                </a:lnTo>
                <a:lnTo>
                  <a:pt x="1110" y="1133"/>
                </a:lnTo>
                <a:lnTo>
                  <a:pt x="1105" y="1132"/>
                </a:lnTo>
                <a:lnTo>
                  <a:pt x="1098" y="1131"/>
                </a:lnTo>
                <a:lnTo>
                  <a:pt x="1089" y="1128"/>
                </a:lnTo>
                <a:lnTo>
                  <a:pt x="1079" y="1123"/>
                </a:lnTo>
                <a:lnTo>
                  <a:pt x="1070" y="1118"/>
                </a:lnTo>
                <a:lnTo>
                  <a:pt x="1062" y="1109"/>
                </a:lnTo>
                <a:lnTo>
                  <a:pt x="1055" y="1099"/>
                </a:lnTo>
                <a:lnTo>
                  <a:pt x="1053" y="1085"/>
                </a:lnTo>
                <a:lnTo>
                  <a:pt x="1054" y="1070"/>
                </a:lnTo>
                <a:lnTo>
                  <a:pt x="1060" y="1050"/>
                </a:lnTo>
                <a:lnTo>
                  <a:pt x="1151" y="964"/>
                </a:lnTo>
                <a:lnTo>
                  <a:pt x="281" y="98"/>
                </a:lnTo>
                <a:lnTo>
                  <a:pt x="278" y="96"/>
                </a:lnTo>
                <a:lnTo>
                  <a:pt x="272" y="91"/>
                </a:lnTo>
                <a:lnTo>
                  <a:pt x="262" y="83"/>
                </a:lnTo>
                <a:lnTo>
                  <a:pt x="248" y="73"/>
                </a:lnTo>
                <a:lnTo>
                  <a:pt x="232" y="63"/>
                </a:lnTo>
                <a:lnTo>
                  <a:pt x="213" y="52"/>
                </a:lnTo>
                <a:lnTo>
                  <a:pt x="191" y="43"/>
                </a:lnTo>
                <a:lnTo>
                  <a:pt x="168" y="35"/>
                </a:lnTo>
                <a:lnTo>
                  <a:pt x="142" y="32"/>
                </a:lnTo>
                <a:lnTo>
                  <a:pt x="115" y="32"/>
                </a:lnTo>
                <a:lnTo>
                  <a:pt x="87" y="35"/>
                </a:lnTo>
                <a:lnTo>
                  <a:pt x="58" y="45"/>
                </a:lnTo>
                <a:lnTo>
                  <a:pt x="29" y="63"/>
                </a:lnTo>
                <a:lnTo>
                  <a:pt x="0" y="87"/>
                </a:lnTo>
                <a:lnTo>
                  <a:pt x="1" y="84"/>
                </a:lnTo>
                <a:lnTo>
                  <a:pt x="8" y="78"/>
                </a:lnTo>
                <a:lnTo>
                  <a:pt x="15" y="68"/>
                </a:lnTo>
                <a:lnTo>
                  <a:pt x="28" y="57"/>
                </a:lnTo>
                <a:lnTo>
                  <a:pt x="42" y="44"/>
                </a:lnTo>
                <a:lnTo>
                  <a:pt x="60" y="32"/>
                </a:lnTo>
                <a:lnTo>
                  <a:pt x="80" y="20"/>
                </a:lnTo>
                <a:lnTo>
                  <a:pt x="103" y="10"/>
                </a:lnTo>
                <a:lnTo>
                  <a:pt x="128" y="3"/>
                </a:lnTo>
                <a:lnTo>
                  <a:pt x="156" y="0"/>
                </a:lnTo>
                <a:close/>
              </a:path>
            </a:pathLst>
          </a:custGeom>
          <a:solidFill>
            <a:srgbClr val="F6A66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417" name="Freeform 11"/>
          <p:cNvSpPr>
            <a:spLocks/>
          </p:cNvSpPr>
          <p:nvPr/>
        </p:nvSpPr>
        <p:spPr bwMode="auto">
          <a:xfrm>
            <a:off x="1728275" y="4164065"/>
            <a:ext cx="2435469" cy="1598612"/>
          </a:xfrm>
          <a:custGeom>
            <a:avLst/>
            <a:gdLst>
              <a:gd name="T0" fmla="*/ 2147483647 w 1869"/>
              <a:gd name="T1" fmla="*/ 0 h 1133"/>
              <a:gd name="T2" fmla="*/ 2147483647 w 1869"/>
              <a:gd name="T3" fmla="*/ 2147483647 h 1133"/>
              <a:gd name="T4" fmla="*/ 2147483647 w 1869"/>
              <a:gd name="T5" fmla="*/ 2147483647 h 1133"/>
              <a:gd name="T6" fmla="*/ 2147483647 w 1869"/>
              <a:gd name="T7" fmla="*/ 2147483647 h 1133"/>
              <a:gd name="T8" fmla="*/ 2147483647 w 1869"/>
              <a:gd name="T9" fmla="*/ 2147483647 h 1133"/>
              <a:gd name="T10" fmla="*/ 2147483647 w 1869"/>
              <a:gd name="T11" fmla="*/ 2147483647 h 1133"/>
              <a:gd name="T12" fmla="*/ 2147483647 w 1869"/>
              <a:gd name="T13" fmla="*/ 2147483647 h 1133"/>
              <a:gd name="T14" fmla="*/ 2147483647 w 1869"/>
              <a:gd name="T15" fmla="*/ 2147483647 h 1133"/>
              <a:gd name="T16" fmla="*/ 2147483647 w 1869"/>
              <a:gd name="T17" fmla="*/ 2147483647 h 1133"/>
              <a:gd name="T18" fmla="*/ 2147483647 w 1869"/>
              <a:gd name="T19" fmla="*/ 2147483647 h 1133"/>
              <a:gd name="T20" fmla="*/ 2147483647 w 1869"/>
              <a:gd name="T21" fmla="*/ 2147483647 h 1133"/>
              <a:gd name="T22" fmla="*/ 2147483647 w 1869"/>
              <a:gd name="T23" fmla="*/ 2147483647 h 1133"/>
              <a:gd name="T24" fmla="*/ 2147483647 w 1869"/>
              <a:gd name="T25" fmla="*/ 2147483647 h 1133"/>
              <a:gd name="T26" fmla="*/ 2147483647 w 1869"/>
              <a:gd name="T27" fmla="*/ 2147483647 h 1133"/>
              <a:gd name="T28" fmla="*/ 2147483647 w 1869"/>
              <a:gd name="T29" fmla="*/ 2147483647 h 1133"/>
              <a:gd name="T30" fmla="*/ 2147483647 w 1869"/>
              <a:gd name="T31" fmla="*/ 2147483647 h 1133"/>
              <a:gd name="T32" fmla="*/ 2147483647 w 1869"/>
              <a:gd name="T33" fmla="*/ 2147483647 h 1133"/>
              <a:gd name="T34" fmla="*/ 2147483647 w 1869"/>
              <a:gd name="T35" fmla="*/ 2147483647 h 1133"/>
              <a:gd name="T36" fmla="*/ 2147483647 w 1869"/>
              <a:gd name="T37" fmla="*/ 2147483647 h 1133"/>
              <a:gd name="T38" fmla="*/ 2147483647 w 1869"/>
              <a:gd name="T39" fmla="*/ 2147483647 h 1133"/>
              <a:gd name="T40" fmla="*/ 2147483647 w 1869"/>
              <a:gd name="T41" fmla="*/ 2147483647 h 1133"/>
              <a:gd name="T42" fmla="*/ 2147483647 w 1869"/>
              <a:gd name="T43" fmla="*/ 2147483647 h 1133"/>
              <a:gd name="T44" fmla="*/ 2147483647 w 1869"/>
              <a:gd name="T45" fmla="*/ 2147483647 h 1133"/>
              <a:gd name="T46" fmla="*/ 2147483647 w 1869"/>
              <a:gd name="T47" fmla="*/ 2147483647 h 1133"/>
              <a:gd name="T48" fmla="*/ 2147483647 w 1869"/>
              <a:gd name="T49" fmla="*/ 2147483647 h 1133"/>
              <a:gd name="T50" fmla="*/ 2147483647 w 1869"/>
              <a:gd name="T51" fmla="*/ 2147483647 h 1133"/>
              <a:gd name="T52" fmla="*/ 2147483647 w 1869"/>
              <a:gd name="T53" fmla="*/ 2147483647 h 1133"/>
              <a:gd name="T54" fmla="*/ 2147483647 w 1869"/>
              <a:gd name="T55" fmla="*/ 2147483647 h 1133"/>
              <a:gd name="T56" fmla="*/ 2147483647 w 1869"/>
              <a:gd name="T57" fmla="*/ 2147483647 h 1133"/>
              <a:gd name="T58" fmla="*/ 0 w 1869"/>
              <a:gd name="T59" fmla="*/ 2147483647 h 1133"/>
              <a:gd name="T60" fmla="*/ 2147483647 w 1869"/>
              <a:gd name="T61" fmla="*/ 2147483647 h 1133"/>
              <a:gd name="T62" fmla="*/ 2147483647 w 1869"/>
              <a:gd name="T63" fmla="*/ 2147483647 h 1133"/>
              <a:gd name="T64" fmla="*/ 2147483647 w 1869"/>
              <a:gd name="T65" fmla="*/ 2147483647 h 1133"/>
              <a:gd name="T66" fmla="*/ 2147483647 w 1869"/>
              <a:gd name="T67" fmla="*/ 2147483647 h 1133"/>
              <a:gd name="T68" fmla="*/ 2147483647 w 1869"/>
              <a:gd name="T69" fmla="*/ 2147483647 h 1133"/>
              <a:gd name="T70" fmla="*/ 2147483647 w 1869"/>
              <a:gd name="T71" fmla="*/ 2147483647 h 1133"/>
              <a:gd name="T72" fmla="*/ 2147483647 w 1869"/>
              <a:gd name="T73" fmla="*/ 2147483647 h 1133"/>
              <a:gd name="T74" fmla="*/ 2147483647 w 1869"/>
              <a:gd name="T75" fmla="*/ 2147483647 h 1133"/>
              <a:gd name="T76" fmla="*/ 2147483647 w 1869"/>
              <a:gd name="T77" fmla="*/ 2147483647 h 1133"/>
              <a:gd name="T78" fmla="*/ 2147483647 w 1869"/>
              <a:gd name="T79" fmla="*/ 2147483647 h 1133"/>
              <a:gd name="T80" fmla="*/ 2147483647 w 1869"/>
              <a:gd name="T81" fmla="*/ 2147483647 h 1133"/>
              <a:gd name="T82" fmla="*/ 2147483647 w 1869"/>
              <a:gd name="T83" fmla="*/ 2147483647 h 1133"/>
              <a:gd name="T84" fmla="*/ 2147483647 w 1869"/>
              <a:gd name="T85" fmla="*/ 0 h 113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869"/>
              <a:gd name="T130" fmla="*/ 0 h 1133"/>
              <a:gd name="T131" fmla="*/ 1869 w 1869"/>
              <a:gd name="T132" fmla="*/ 1133 h 113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869" h="1133">
                <a:moveTo>
                  <a:pt x="1110" y="0"/>
                </a:moveTo>
                <a:lnTo>
                  <a:pt x="1798" y="0"/>
                </a:lnTo>
                <a:lnTo>
                  <a:pt x="1816" y="3"/>
                </a:lnTo>
                <a:lnTo>
                  <a:pt x="1831" y="8"/>
                </a:lnTo>
                <a:lnTo>
                  <a:pt x="1842" y="17"/>
                </a:lnTo>
                <a:lnTo>
                  <a:pt x="1851" y="27"/>
                </a:lnTo>
                <a:lnTo>
                  <a:pt x="1857" y="38"/>
                </a:lnTo>
                <a:lnTo>
                  <a:pt x="1862" y="49"/>
                </a:lnTo>
                <a:lnTo>
                  <a:pt x="1865" y="59"/>
                </a:lnTo>
                <a:lnTo>
                  <a:pt x="1866" y="68"/>
                </a:lnTo>
                <a:lnTo>
                  <a:pt x="1867" y="73"/>
                </a:lnTo>
                <a:lnTo>
                  <a:pt x="1867" y="216"/>
                </a:lnTo>
                <a:lnTo>
                  <a:pt x="1869" y="260"/>
                </a:lnTo>
                <a:lnTo>
                  <a:pt x="1869" y="706"/>
                </a:lnTo>
                <a:lnTo>
                  <a:pt x="1867" y="731"/>
                </a:lnTo>
                <a:lnTo>
                  <a:pt x="1867" y="749"/>
                </a:lnTo>
                <a:lnTo>
                  <a:pt x="1865" y="770"/>
                </a:lnTo>
                <a:lnTo>
                  <a:pt x="1860" y="786"/>
                </a:lnTo>
                <a:lnTo>
                  <a:pt x="1852" y="798"/>
                </a:lnTo>
                <a:lnTo>
                  <a:pt x="1842" y="805"/>
                </a:lnTo>
                <a:lnTo>
                  <a:pt x="1832" y="810"/>
                </a:lnTo>
                <a:lnTo>
                  <a:pt x="1822" y="813"/>
                </a:lnTo>
                <a:lnTo>
                  <a:pt x="1803" y="813"/>
                </a:lnTo>
                <a:lnTo>
                  <a:pt x="1796" y="810"/>
                </a:lnTo>
                <a:lnTo>
                  <a:pt x="1791" y="809"/>
                </a:lnTo>
                <a:lnTo>
                  <a:pt x="1790" y="809"/>
                </a:lnTo>
                <a:lnTo>
                  <a:pt x="1696" y="715"/>
                </a:lnTo>
                <a:lnTo>
                  <a:pt x="1677" y="734"/>
                </a:lnTo>
                <a:lnTo>
                  <a:pt x="1663" y="746"/>
                </a:lnTo>
                <a:lnTo>
                  <a:pt x="1647" y="763"/>
                </a:lnTo>
                <a:lnTo>
                  <a:pt x="1627" y="780"/>
                </a:lnTo>
                <a:lnTo>
                  <a:pt x="1607" y="802"/>
                </a:lnTo>
                <a:lnTo>
                  <a:pt x="1583" y="823"/>
                </a:lnTo>
                <a:lnTo>
                  <a:pt x="1559" y="847"/>
                </a:lnTo>
                <a:lnTo>
                  <a:pt x="1534" y="871"/>
                </a:lnTo>
                <a:lnTo>
                  <a:pt x="1509" y="896"/>
                </a:lnTo>
                <a:lnTo>
                  <a:pt x="1484" y="920"/>
                </a:lnTo>
                <a:lnTo>
                  <a:pt x="1435" y="969"/>
                </a:lnTo>
                <a:lnTo>
                  <a:pt x="1411" y="991"/>
                </a:lnTo>
                <a:lnTo>
                  <a:pt x="1391" y="1011"/>
                </a:lnTo>
                <a:lnTo>
                  <a:pt x="1372" y="1031"/>
                </a:lnTo>
                <a:lnTo>
                  <a:pt x="1342" y="1062"/>
                </a:lnTo>
                <a:lnTo>
                  <a:pt x="1319" y="1084"/>
                </a:lnTo>
                <a:lnTo>
                  <a:pt x="1298" y="1102"/>
                </a:lnTo>
                <a:lnTo>
                  <a:pt x="1280" y="1114"/>
                </a:lnTo>
                <a:lnTo>
                  <a:pt x="1263" y="1123"/>
                </a:lnTo>
                <a:lnTo>
                  <a:pt x="1251" y="1129"/>
                </a:lnTo>
                <a:lnTo>
                  <a:pt x="1241" y="1132"/>
                </a:lnTo>
                <a:lnTo>
                  <a:pt x="1233" y="1133"/>
                </a:lnTo>
                <a:lnTo>
                  <a:pt x="156" y="1133"/>
                </a:lnTo>
                <a:lnTo>
                  <a:pt x="128" y="1131"/>
                </a:lnTo>
                <a:lnTo>
                  <a:pt x="103" y="1123"/>
                </a:lnTo>
                <a:lnTo>
                  <a:pt x="80" y="1113"/>
                </a:lnTo>
                <a:lnTo>
                  <a:pt x="60" y="1102"/>
                </a:lnTo>
                <a:lnTo>
                  <a:pt x="42" y="1089"/>
                </a:lnTo>
                <a:lnTo>
                  <a:pt x="28" y="1077"/>
                </a:lnTo>
                <a:lnTo>
                  <a:pt x="15" y="1065"/>
                </a:lnTo>
                <a:lnTo>
                  <a:pt x="8" y="1055"/>
                </a:lnTo>
                <a:lnTo>
                  <a:pt x="1" y="1049"/>
                </a:lnTo>
                <a:lnTo>
                  <a:pt x="0" y="1046"/>
                </a:lnTo>
                <a:lnTo>
                  <a:pt x="29" y="1070"/>
                </a:lnTo>
                <a:lnTo>
                  <a:pt x="58" y="1088"/>
                </a:lnTo>
                <a:lnTo>
                  <a:pt x="87" y="1098"/>
                </a:lnTo>
                <a:lnTo>
                  <a:pt x="115" y="1102"/>
                </a:lnTo>
                <a:lnTo>
                  <a:pt x="142" y="1102"/>
                </a:lnTo>
                <a:lnTo>
                  <a:pt x="168" y="1098"/>
                </a:lnTo>
                <a:lnTo>
                  <a:pt x="191" y="1090"/>
                </a:lnTo>
                <a:lnTo>
                  <a:pt x="213" y="1082"/>
                </a:lnTo>
                <a:lnTo>
                  <a:pt x="232" y="1070"/>
                </a:lnTo>
                <a:lnTo>
                  <a:pt x="248" y="1060"/>
                </a:lnTo>
                <a:lnTo>
                  <a:pt x="262" y="1050"/>
                </a:lnTo>
                <a:lnTo>
                  <a:pt x="272" y="1043"/>
                </a:lnTo>
                <a:lnTo>
                  <a:pt x="278" y="1038"/>
                </a:lnTo>
                <a:lnTo>
                  <a:pt x="281" y="1035"/>
                </a:lnTo>
                <a:lnTo>
                  <a:pt x="1151" y="170"/>
                </a:lnTo>
                <a:lnTo>
                  <a:pt x="1060" y="83"/>
                </a:lnTo>
                <a:lnTo>
                  <a:pt x="1054" y="63"/>
                </a:lnTo>
                <a:lnTo>
                  <a:pt x="1053" y="48"/>
                </a:lnTo>
                <a:lnTo>
                  <a:pt x="1055" y="34"/>
                </a:lnTo>
                <a:lnTo>
                  <a:pt x="1062" y="24"/>
                </a:lnTo>
                <a:lnTo>
                  <a:pt x="1070" y="15"/>
                </a:lnTo>
                <a:lnTo>
                  <a:pt x="1079" y="10"/>
                </a:lnTo>
                <a:lnTo>
                  <a:pt x="1089" y="5"/>
                </a:lnTo>
                <a:lnTo>
                  <a:pt x="1098" y="3"/>
                </a:lnTo>
                <a:lnTo>
                  <a:pt x="1105" y="2"/>
                </a:lnTo>
                <a:lnTo>
                  <a:pt x="1110" y="0"/>
                </a:lnTo>
                <a:close/>
              </a:path>
            </a:pathLst>
          </a:custGeom>
          <a:solidFill>
            <a:srgbClr val="4BACC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Oval 108"/>
          <p:cNvSpPr/>
          <p:nvPr/>
        </p:nvSpPr>
        <p:spPr>
          <a:xfrm>
            <a:off x="1397096" y="5832531"/>
            <a:ext cx="2489688" cy="193675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31000"/>
                </a:scheme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en-AU" sz="18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7419" name="TextBox 11"/>
          <p:cNvSpPr txBox="1">
            <a:spLocks noChangeArrowheads="1"/>
          </p:cNvSpPr>
          <p:nvPr/>
        </p:nvSpPr>
        <p:spPr bwMode="auto">
          <a:xfrm rot="2698259">
            <a:off x="2695429" y="1856369"/>
            <a:ext cx="1597269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b="1" dirty="0" err="1">
                <a:solidFill>
                  <a:schemeClr val="bg1"/>
                </a:solidFill>
              </a:rPr>
              <a:t>Dukungan</a:t>
            </a:r>
            <a:r>
              <a:rPr lang="en-US" sz="1700" b="1" dirty="0">
                <a:solidFill>
                  <a:schemeClr val="bg1"/>
                </a:solidFill>
              </a:rPr>
              <a:t> </a:t>
            </a:r>
            <a:r>
              <a:rPr lang="en-US" sz="1700" b="1" dirty="0" err="1">
                <a:solidFill>
                  <a:schemeClr val="bg1"/>
                </a:solidFill>
              </a:rPr>
              <a:t>Penyiapan</a:t>
            </a:r>
            <a:r>
              <a:rPr lang="en-US" sz="1700" b="1" dirty="0">
                <a:solidFill>
                  <a:schemeClr val="bg1"/>
                </a:solidFill>
              </a:rPr>
              <a:t> </a:t>
            </a:r>
            <a:r>
              <a:rPr lang="en-US" sz="1700" b="1" dirty="0" err="1">
                <a:solidFill>
                  <a:schemeClr val="bg1"/>
                </a:solidFill>
              </a:rPr>
              <a:t>dan</a:t>
            </a:r>
            <a:r>
              <a:rPr lang="en-US" sz="1700" b="1" dirty="0">
                <a:solidFill>
                  <a:schemeClr val="bg1"/>
                </a:solidFill>
              </a:rPr>
              <a:t> </a:t>
            </a:r>
            <a:r>
              <a:rPr lang="en-US" sz="1700" b="1" dirty="0" err="1">
                <a:solidFill>
                  <a:schemeClr val="bg1"/>
                </a:solidFill>
              </a:rPr>
              <a:t>Kelayakan</a:t>
            </a:r>
            <a:endParaRPr lang="en-US" sz="1700" b="1" dirty="0">
              <a:solidFill>
                <a:schemeClr val="bg1"/>
              </a:solidFill>
              <a:latin typeface="Arial Narrow" charset="0"/>
            </a:endParaRPr>
          </a:p>
        </p:txBody>
      </p:sp>
      <p:sp>
        <p:nvSpPr>
          <p:cNvPr id="17420" name="TextBox 12"/>
          <p:cNvSpPr txBox="1">
            <a:spLocks noChangeArrowheads="1"/>
          </p:cNvSpPr>
          <p:nvPr/>
        </p:nvSpPr>
        <p:spPr bwMode="auto">
          <a:xfrm rot="18901741" flipH="1">
            <a:off x="2717407" y="4427594"/>
            <a:ext cx="1547446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b="1">
                <a:solidFill>
                  <a:schemeClr val="bg1"/>
                </a:solidFill>
              </a:rPr>
              <a:t>Reformasi yang menyeluruh</a:t>
            </a:r>
            <a:endParaRPr lang="en-US" sz="1700" b="1">
              <a:solidFill>
                <a:schemeClr val="bg1"/>
              </a:solidFill>
              <a:latin typeface="Arial Narrow" charset="0"/>
            </a:endParaRPr>
          </a:p>
        </p:txBody>
      </p:sp>
      <p:sp>
        <p:nvSpPr>
          <p:cNvPr id="17421" name="Rectangle 21"/>
          <p:cNvSpPr>
            <a:spLocks noChangeArrowheads="1"/>
          </p:cNvSpPr>
          <p:nvPr/>
        </p:nvSpPr>
        <p:spPr bwMode="auto">
          <a:xfrm>
            <a:off x="5183053" y="2453100"/>
            <a:ext cx="3783623" cy="1201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300" dirty="0" err="1"/>
              <a:t>Penandatanganan</a:t>
            </a:r>
            <a:r>
              <a:rPr lang="en-US" sz="1300" dirty="0"/>
              <a:t> </a:t>
            </a:r>
            <a:r>
              <a:rPr lang="en-US" sz="1300" dirty="0" err="1"/>
              <a:t>perjanjian</a:t>
            </a:r>
            <a:r>
              <a:rPr lang="en-US" sz="1300" dirty="0"/>
              <a:t> </a:t>
            </a:r>
            <a:r>
              <a:rPr lang="en-US" sz="1300" dirty="0" err="1"/>
              <a:t>kerjasama</a:t>
            </a:r>
            <a:r>
              <a:rPr lang="en-US" sz="1300" dirty="0"/>
              <a:t> </a:t>
            </a:r>
            <a:r>
              <a:rPr lang="en-US" sz="1300" b="1" dirty="0" err="1"/>
              <a:t>Palapa</a:t>
            </a:r>
            <a:r>
              <a:rPr lang="en-US" sz="1300" b="1" dirty="0"/>
              <a:t> Ring Broadband </a:t>
            </a:r>
            <a:r>
              <a:rPr lang="en-US" sz="1300" b="1" dirty="0" err="1"/>
              <a:t>paket</a:t>
            </a:r>
            <a:r>
              <a:rPr lang="en-US" sz="1300" b="1" dirty="0"/>
              <a:t> Barat, Tengah </a:t>
            </a:r>
            <a:r>
              <a:rPr lang="en-US" sz="1300" b="1" dirty="0" err="1"/>
              <a:t>dan</a:t>
            </a:r>
            <a:r>
              <a:rPr lang="en-US" sz="1300" b="1" dirty="0"/>
              <a:t> </a:t>
            </a:r>
            <a:r>
              <a:rPr lang="en-US" sz="1300" b="1" dirty="0" err="1"/>
              <a:t>Timur</a:t>
            </a:r>
            <a:r>
              <a:rPr lang="en-US" sz="1300" b="1" dirty="0"/>
              <a:t> </a:t>
            </a:r>
            <a:r>
              <a:rPr lang="en-US" sz="1300" dirty="0" err="1"/>
              <a:t>serta</a:t>
            </a:r>
            <a:r>
              <a:rPr lang="en-US" sz="1300" dirty="0"/>
              <a:t> </a:t>
            </a:r>
            <a:r>
              <a:rPr lang="en-US" sz="1300" i="1" dirty="0"/>
              <a:t>financial close </a:t>
            </a:r>
            <a:r>
              <a:rPr lang="en-US" sz="1300" b="1" dirty="0" err="1"/>
              <a:t>paket</a:t>
            </a:r>
            <a:r>
              <a:rPr lang="en-US" sz="1300" b="1" dirty="0"/>
              <a:t> </a:t>
            </a:r>
            <a:r>
              <a:rPr lang="en-US" sz="1300" b="1" dirty="0" smtClean="0"/>
              <a:t>Barat, Tengah </a:t>
            </a:r>
            <a:r>
              <a:rPr lang="en-US" sz="1300" b="1" dirty="0" err="1" smtClean="0"/>
              <a:t>dan</a:t>
            </a:r>
            <a:r>
              <a:rPr lang="en-US" sz="1300" b="1" dirty="0" smtClean="0"/>
              <a:t> </a:t>
            </a:r>
            <a:r>
              <a:rPr lang="en-US" sz="1300" b="1" dirty="0" err="1" smtClean="0"/>
              <a:t>Timur</a:t>
            </a:r>
            <a:endParaRPr lang="en-US" sz="1300" b="1" dirty="0" smtClean="0"/>
          </a:p>
          <a:p>
            <a:pPr eaLnBrk="1" hangingPunct="1"/>
            <a:r>
              <a:rPr lang="en-US" sz="1300" b="1" dirty="0" smtClean="0"/>
              <a:t>(Total Rp5,8 T)</a:t>
            </a:r>
            <a:endParaRPr lang="en-US" sz="1300" dirty="0"/>
          </a:p>
        </p:txBody>
      </p:sp>
      <p:sp>
        <p:nvSpPr>
          <p:cNvPr id="17422" name="Rectangle 22"/>
          <p:cNvSpPr>
            <a:spLocks noChangeArrowheads="1"/>
          </p:cNvSpPr>
          <p:nvPr/>
        </p:nvSpPr>
        <p:spPr bwMode="auto">
          <a:xfrm>
            <a:off x="5236247" y="3779143"/>
            <a:ext cx="3743653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sz="1300" dirty="0" err="1"/>
              <a:t>Penandatanganan</a:t>
            </a:r>
            <a:r>
              <a:rPr lang="en-US" sz="1300" dirty="0"/>
              <a:t> </a:t>
            </a:r>
            <a:r>
              <a:rPr lang="en-US" sz="1300" dirty="0" err="1"/>
              <a:t>perjanjian</a:t>
            </a:r>
            <a:r>
              <a:rPr lang="en-US" sz="1300" dirty="0"/>
              <a:t> </a:t>
            </a:r>
            <a:r>
              <a:rPr lang="en-US" sz="1300" dirty="0" err="1"/>
              <a:t>kerjasama</a:t>
            </a:r>
            <a:r>
              <a:rPr lang="en-US" sz="1300" dirty="0"/>
              <a:t> </a:t>
            </a:r>
            <a:r>
              <a:rPr lang="en-US" sz="1300" dirty="0" err="1"/>
              <a:t>untuk</a:t>
            </a:r>
            <a:r>
              <a:rPr lang="en-US" sz="1300" dirty="0"/>
              <a:t> </a:t>
            </a:r>
            <a:r>
              <a:rPr lang="en-US" sz="1300" b="1" dirty="0" err="1"/>
              <a:t>Jalan</a:t>
            </a:r>
            <a:r>
              <a:rPr lang="en-US" sz="1300" b="1" dirty="0"/>
              <a:t> </a:t>
            </a:r>
            <a:r>
              <a:rPr lang="en-US" sz="1300" b="1" dirty="0" err="1"/>
              <a:t>Tol</a:t>
            </a:r>
            <a:r>
              <a:rPr lang="en-US" sz="1300" b="1" dirty="0"/>
              <a:t> Balikpapan – </a:t>
            </a:r>
            <a:r>
              <a:rPr lang="en-US" sz="1300" b="1" dirty="0" err="1"/>
              <a:t>Samarinda</a:t>
            </a:r>
            <a:r>
              <a:rPr lang="en-US" sz="1300" b="1" dirty="0"/>
              <a:t>, Manado – </a:t>
            </a:r>
            <a:r>
              <a:rPr lang="en-US" sz="1300" b="1" dirty="0" err="1"/>
              <a:t>Bitung</a:t>
            </a:r>
            <a:r>
              <a:rPr lang="en-US" sz="1300" b="1" dirty="0"/>
              <a:t>, and </a:t>
            </a:r>
            <a:r>
              <a:rPr lang="en-US" sz="1300" b="1" dirty="0" err="1"/>
              <a:t>Pandaan</a:t>
            </a:r>
            <a:r>
              <a:rPr lang="id-ID" sz="1300" b="1" dirty="0"/>
              <a:t> </a:t>
            </a:r>
            <a:r>
              <a:rPr lang="id-ID" sz="1300" b="1" dirty="0" smtClean="0"/>
              <a:t>– </a:t>
            </a:r>
            <a:r>
              <a:rPr lang="en-US" sz="1300" b="1" dirty="0" smtClean="0"/>
              <a:t>Malang</a:t>
            </a:r>
            <a:r>
              <a:rPr lang="en-US" sz="1300" b="1" dirty="0"/>
              <a:t> </a:t>
            </a:r>
            <a:r>
              <a:rPr lang="en-US" sz="1300" b="1" dirty="0" smtClean="0"/>
              <a:t>(Rp18 T)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77200" y="1455786"/>
            <a:ext cx="434116" cy="470293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62065" y="2034172"/>
            <a:ext cx="471696" cy="511004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25990" y="2645846"/>
            <a:ext cx="510257" cy="552778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61483" y="3734083"/>
            <a:ext cx="747067" cy="702473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>
          <a:xfrm>
            <a:off x="5236247" y="2007929"/>
            <a:ext cx="40399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5236246" y="2436106"/>
            <a:ext cx="403990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215289" y="3560665"/>
            <a:ext cx="403990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29" y="3076321"/>
            <a:ext cx="2071726" cy="120429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461482" y="961043"/>
            <a:ext cx="4440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i="1" u="sng" dirty="0" err="1"/>
              <a:t>Pencapaian</a:t>
            </a:r>
            <a:r>
              <a:rPr lang="en-AU" sz="1600" b="1" i="1" u="sng" dirty="0"/>
              <a:t> </a:t>
            </a:r>
            <a:r>
              <a:rPr lang="en-AU" sz="1600" b="1" i="1" u="sng" dirty="0" err="1" smtClean="0"/>
              <a:t>Selektif</a:t>
            </a:r>
            <a:r>
              <a:rPr lang="en-AU" sz="1600" b="1" i="1" u="sng" dirty="0" smtClean="0"/>
              <a:t> 2016</a:t>
            </a:r>
            <a:endParaRPr lang="en-AU" sz="1600" i="1" dirty="0"/>
          </a:p>
        </p:txBody>
      </p:sp>
      <p:sp>
        <p:nvSpPr>
          <p:cNvPr id="27" name="TextBox 26"/>
          <p:cNvSpPr txBox="1"/>
          <p:nvPr/>
        </p:nvSpPr>
        <p:spPr>
          <a:xfrm>
            <a:off x="4538971" y="4758255"/>
            <a:ext cx="4440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i="1" u="sng" dirty="0" err="1"/>
              <a:t>Potensi</a:t>
            </a:r>
            <a:r>
              <a:rPr lang="en-AU" sz="1600" b="1" i="1" u="sng" dirty="0"/>
              <a:t> </a:t>
            </a:r>
            <a:r>
              <a:rPr lang="en-AU" sz="1600" b="1" i="1" u="sng" dirty="0" err="1"/>
              <a:t>Pencapaian</a:t>
            </a:r>
            <a:r>
              <a:rPr lang="en-AU" sz="1600" b="1" i="1" u="sng" dirty="0"/>
              <a:t> 2017</a:t>
            </a:r>
            <a:endParaRPr lang="en-AU" sz="1600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4670272" y="4733960"/>
            <a:ext cx="4659355" cy="0"/>
          </a:xfrm>
          <a:prstGeom prst="line">
            <a:avLst/>
          </a:prstGeom>
          <a:ln>
            <a:solidFill>
              <a:schemeClr val="accent5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1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5300" y="32349"/>
            <a:ext cx="8915400" cy="723861"/>
          </a:xfrm>
        </p:spPr>
        <p:txBody>
          <a:bodyPr/>
          <a:lstStyle/>
          <a:p>
            <a:r>
              <a:rPr lang="en-US" sz="2000" dirty="0" err="1" smtClean="0"/>
              <a:t>Pencapaian</a:t>
            </a:r>
            <a:r>
              <a:rPr lang="en-US" sz="2000" dirty="0" smtClean="0"/>
              <a:t> </a:t>
            </a:r>
            <a:r>
              <a:rPr lang="en-US" sz="2000" dirty="0" err="1" smtClean="0"/>
              <a:t>Proyek</a:t>
            </a:r>
            <a:r>
              <a:rPr lang="en-US" sz="2000" dirty="0" smtClean="0"/>
              <a:t> </a:t>
            </a:r>
            <a:r>
              <a:rPr lang="en-US" sz="2000" dirty="0" err="1" smtClean="0"/>
              <a:t>Prioritas</a:t>
            </a:r>
            <a:r>
              <a:rPr lang="en-US" sz="2000" dirty="0" smtClean="0"/>
              <a:t> </a:t>
            </a:r>
            <a:r>
              <a:rPr lang="en-US" sz="2000" dirty="0" err="1" smtClean="0"/>
              <a:t>Tahun</a:t>
            </a:r>
            <a:r>
              <a:rPr lang="en-US" sz="2000" dirty="0" smtClean="0"/>
              <a:t> 2016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Potensi</a:t>
            </a:r>
            <a:r>
              <a:rPr lang="en-US" sz="2000" dirty="0" smtClean="0"/>
              <a:t> </a:t>
            </a:r>
            <a:r>
              <a:rPr lang="en-US" sz="2000" dirty="0" err="1" smtClean="0"/>
              <a:t>Pencapaian</a:t>
            </a:r>
            <a:r>
              <a:rPr lang="en-US" sz="2000" dirty="0" smtClean="0"/>
              <a:t> </a:t>
            </a:r>
            <a:r>
              <a:rPr lang="en-US" sz="2000" dirty="0" err="1" smtClean="0"/>
              <a:t>Tahun</a:t>
            </a:r>
            <a:r>
              <a:rPr lang="en-US" sz="2000" dirty="0" smtClean="0"/>
              <a:t> 2017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3538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11"/>
          <p:cNvSpPr>
            <a:spLocks noGrp="1"/>
          </p:cNvSpPr>
          <p:nvPr>
            <p:ph type="title"/>
          </p:nvPr>
        </p:nvSpPr>
        <p:spPr>
          <a:xfrm>
            <a:off x="495300" y="186452"/>
            <a:ext cx="8915400" cy="416084"/>
          </a:xfrm>
        </p:spPr>
        <p:txBody>
          <a:bodyPr/>
          <a:lstStyle/>
          <a:p>
            <a:pPr eaLnBrk="1" hangingPunct="1"/>
            <a:r>
              <a:rPr altLang="en-US" sz="2000" dirty="0" smtClean="0">
                <a:latin typeface="Arial" charset="0"/>
                <a:ea typeface="ＭＳ Ｐゴシック" charset="-128"/>
                <a:cs typeface="Arial" charset="0"/>
              </a:rPr>
              <a:t>Agenda</a:t>
            </a:r>
            <a:endParaRPr altLang="en-US" sz="2000" dirty="0">
              <a:latin typeface="Arial" charset="0"/>
              <a:ea typeface="ＭＳ Ｐゴシック" charset="-128"/>
              <a:cs typeface="Arial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8840672"/>
              </p:ext>
            </p:extLst>
          </p:nvPr>
        </p:nvGraphicFramePr>
        <p:xfrm>
          <a:off x="495300" y="1092200"/>
          <a:ext cx="8915400" cy="488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07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617825" y="848950"/>
            <a:ext cx="8917446" cy="7818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495300" y="31750"/>
            <a:ext cx="8915400" cy="723900"/>
          </a:xfrm>
        </p:spPr>
        <p:txBody>
          <a:bodyPr/>
          <a:lstStyle/>
          <a:p>
            <a:r>
              <a:rPr lang="tr-TR" sz="2000" dirty="0" err="1">
                <a:latin typeface="Arial" charset="0"/>
                <a:ea typeface="MS PGothic" charset="0"/>
              </a:rPr>
              <a:t>Proyek</a:t>
            </a:r>
            <a:r>
              <a:rPr lang="tr-TR" sz="2000" dirty="0">
                <a:latin typeface="Arial" charset="0"/>
                <a:ea typeface="MS PGothic" charset="0"/>
              </a:rPr>
              <a:t> PSN </a:t>
            </a:r>
            <a:r>
              <a:rPr lang="tr-TR" sz="2000" dirty="0" err="1" smtClean="0">
                <a:latin typeface="Arial" charset="0"/>
                <a:ea typeface="MS PGothic" charset="0"/>
              </a:rPr>
              <a:t>dapat</a:t>
            </a:r>
            <a:r>
              <a:rPr lang="tr-TR" sz="2000" dirty="0" smtClean="0">
                <a:latin typeface="Arial" charset="0"/>
                <a:ea typeface="MS PGothic" charset="0"/>
              </a:rPr>
              <a:t> </a:t>
            </a:r>
            <a:r>
              <a:rPr lang="tr-TR" sz="2000" dirty="0" err="1">
                <a:latin typeface="Arial" charset="0"/>
                <a:ea typeface="MS PGothic" charset="0"/>
              </a:rPr>
              <a:t>menggunakan</a:t>
            </a:r>
            <a:r>
              <a:rPr lang="tr-TR" sz="2000" dirty="0">
                <a:latin typeface="Arial" charset="0"/>
                <a:ea typeface="MS PGothic" charset="0"/>
              </a:rPr>
              <a:t> </a:t>
            </a:r>
            <a:r>
              <a:rPr lang="tr-TR" sz="2000" dirty="0" err="1">
                <a:latin typeface="Arial" charset="0"/>
                <a:ea typeface="MS PGothic" charset="0"/>
              </a:rPr>
              <a:t>berbagai</a:t>
            </a:r>
            <a:r>
              <a:rPr lang="tr-TR" sz="2000" dirty="0">
                <a:latin typeface="Arial" charset="0"/>
                <a:ea typeface="MS PGothic" charset="0"/>
              </a:rPr>
              <a:t> </a:t>
            </a:r>
            <a:r>
              <a:rPr lang="tr-TR" sz="2000" dirty="0" err="1">
                <a:latin typeface="Arial" charset="0"/>
                <a:ea typeface="MS PGothic" charset="0"/>
              </a:rPr>
              <a:t>fasilitas</a:t>
            </a:r>
            <a:r>
              <a:rPr lang="tr-TR" sz="2000" dirty="0">
                <a:latin typeface="Arial" charset="0"/>
                <a:ea typeface="MS PGothic" charset="0"/>
              </a:rPr>
              <a:t> dan </a:t>
            </a:r>
            <a:r>
              <a:rPr lang="tr-TR" sz="2000" dirty="0" err="1">
                <a:latin typeface="Arial" charset="0"/>
                <a:ea typeface="MS PGothic" charset="0"/>
              </a:rPr>
              <a:t>keistimewaan</a:t>
            </a:r>
            <a:r>
              <a:rPr lang="tr-TR" sz="2000" dirty="0">
                <a:latin typeface="Arial" charset="0"/>
                <a:ea typeface="MS PGothic" charset="0"/>
              </a:rPr>
              <a:t> </a:t>
            </a:r>
            <a:r>
              <a:rPr lang="tr-TR" sz="2000" dirty="0" err="1">
                <a:latin typeface="Arial" charset="0"/>
                <a:ea typeface="MS PGothic" charset="0"/>
              </a:rPr>
              <a:t>sesuai</a:t>
            </a:r>
            <a:r>
              <a:rPr lang="tr-TR" sz="2000" dirty="0">
                <a:latin typeface="Arial" charset="0"/>
                <a:ea typeface="MS PGothic" charset="0"/>
              </a:rPr>
              <a:t> </a:t>
            </a:r>
            <a:r>
              <a:rPr lang="tr-TR" sz="2000" dirty="0" err="1">
                <a:latin typeface="Arial" charset="0"/>
                <a:ea typeface="MS PGothic" charset="0"/>
              </a:rPr>
              <a:t>Perpres</a:t>
            </a:r>
            <a:r>
              <a:rPr lang="tr-TR" sz="2000" dirty="0">
                <a:latin typeface="Arial" charset="0"/>
                <a:ea typeface="MS PGothic" charset="0"/>
              </a:rPr>
              <a:t> </a:t>
            </a:r>
            <a:r>
              <a:rPr sz="2000" dirty="0">
                <a:latin typeface="Arial" charset="0"/>
                <a:ea typeface="MS PGothic" charset="0"/>
              </a:rPr>
              <a:t>No. 3/2016</a:t>
            </a:r>
          </a:p>
        </p:txBody>
      </p:sp>
      <p:sp>
        <p:nvSpPr>
          <p:cNvPr id="29699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572625" y="6500813"/>
            <a:ext cx="37941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883F48D0-6703-A141-8205-F46C6CC58D63}" type="slidenum">
              <a:rPr lang="en-US" sz="800">
                <a:solidFill>
                  <a:srgbClr val="A6A6A6"/>
                </a:solidFill>
              </a:rPr>
              <a:pPr/>
              <a:t>13</a:t>
            </a:fld>
            <a:endParaRPr lang="en-US" sz="800">
              <a:solidFill>
                <a:srgbClr val="A6A6A6"/>
              </a:solidFill>
            </a:endParaRPr>
          </a:p>
        </p:txBody>
      </p:sp>
      <p:sp>
        <p:nvSpPr>
          <p:cNvPr id="29700" name="Up Arrow 393"/>
          <p:cNvSpPr>
            <a:spLocks noChangeArrowheads="1"/>
          </p:cNvSpPr>
          <p:nvPr/>
        </p:nvSpPr>
        <p:spPr bwMode="auto">
          <a:xfrm rot="7718624">
            <a:off x="5922169" y="4459853"/>
            <a:ext cx="361950" cy="944562"/>
          </a:xfrm>
          <a:prstGeom prst="upArrow">
            <a:avLst>
              <a:gd name="adj1" fmla="val 50000"/>
              <a:gd name="adj2" fmla="val 49994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1" name="Up Arrow 394"/>
          <p:cNvSpPr>
            <a:spLocks noChangeArrowheads="1"/>
          </p:cNvSpPr>
          <p:nvPr/>
        </p:nvSpPr>
        <p:spPr bwMode="auto">
          <a:xfrm rot="-9393970">
            <a:off x="4252913" y="4903559"/>
            <a:ext cx="361950" cy="944563"/>
          </a:xfrm>
          <a:prstGeom prst="upArrow">
            <a:avLst>
              <a:gd name="adj1" fmla="val 50000"/>
              <a:gd name="adj2" fmla="val 49994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2" name="Up Arrow 395"/>
          <p:cNvSpPr>
            <a:spLocks noChangeArrowheads="1"/>
          </p:cNvSpPr>
          <p:nvPr/>
        </p:nvSpPr>
        <p:spPr bwMode="auto">
          <a:xfrm rot="9266338">
            <a:off x="5362575" y="4830534"/>
            <a:ext cx="360363" cy="1022350"/>
          </a:xfrm>
          <a:prstGeom prst="upArrow">
            <a:avLst>
              <a:gd name="adj1" fmla="val 50000"/>
              <a:gd name="adj2" fmla="val 50002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3" name="Up Arrow 396"/>
          <p:cNvSpPr>
            <a:spLocks noChangeArrowheads="1"/>
          </p:cNvSpPr>
          <p:nvPr/>
        </p:nvSpPr>
        <p:spPr bwMode="auto">
          <a:xfrm rot="3235023">
            <a:off x="5966619" y="2915215"/>
            <a:ext cx="371475" cy="1046163"/>
          </a:xfrm>
          <a:prstGeom prst="upArrow">
            <a:avLst>
              <a:gd name="adj1" fmla="val 50000"/>
              <a:gd name="adj2" fmla="val 50001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4" name="Up Arrow 397"/>
          <p:cNvSpPr>
            <a:spLocks noChangeArrowheads="1"/>
          </p:cNvSpPr>
          <p:nvPr/>
        </p:nvSpPr>
        <p:spPr bwMode="auto">
          <a:xfrm rot="5400000">
            <a:off x="6361113" y="3716109"/>
            <a:ext cx="361950" cy="946150"/>
          </a:xfrm>
          <a:prstGeom prst="upArrow">
            <a:avLst>
              <a:gd name="adj1" fmla="val 50000"/>
              <a:gd name="adj2" fmla="val 50006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5" name="Up Arrow 398"/>
          <p:cNvSpPr>
            <a:spLocks noChangeArrowheads="1"/>
          </p:cNvSpPr>
          <p:nvPr/>
        </p:nvSpPr>
        <p:spPr bwMode="auto">
          <a:xfrm rot="-7690704">
            <a:off x="3684588" y="4503509"/>
            <a:ext cx="361950" cy="946150"/>
          </a:xfrm>
          <a:prstGeom prst="upArrow">
            <a:avLst>
              <a:gd name="adj1" fmla="val 50000"/>
              <a:gd name="adj2" fmla="val 50006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6" name="Up Arrow 399"/>
          <p:cNvSpPr>
            <a:spLocks noChangeArrowheads="1"/>
          </p:cNvSpPr>
          <p:nvPr/>
        </p:nvSpPr>
        <p:spPr bwMode="auto">
          <a:xfrm rot="-5400000">
            <a:off x="3244057" y="3716902"/>
            <a:ext cx="361950" cy="944563"/>
          </a:xfrm>
          <a:prstGeom prst="upArrow">
            <a:avLst>
              <a:gd name="adj1" fmla="val 50000"/>
              <a:gd name="adj2" fmla="val 49994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7" name="Up Arrow 400"/>
          <p:cNvSpPr>
            <a:spLocks noChangeArrowheads="1"/>
          </p:cNvSpPr>
          <p:nvPr/>
        </p:nvSpPr>
        <p:spPr bwMode="auto">
          <a:xfrm rot="-3112593">
            <a:off x="3537744" y="2916803"/>
            <a:ext cx="360362" cy="1035050"/>
          </a:xfrm>
          <a:prstGeom prst="up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8" name="Up Arrow 401"/>
          <p:cNvSpPr>
            <a:spLocks noChangeArrowheads="1"/>
          </p:cNvSpPr>
          <p:nvPr/>
        </p:nvSpPr>
        <p:spPr bwMode="auto">
          <a:xfrm rot="1762102">
            <a:off x="5367338" y="2457222"/>
            <a:ext cx="361950" cy="944562"/>
          </a:xfrm>
          <a:prstGeom prst="upArrow">
            <a:avLst>
              <a:gd name="adj1" fmla="val 50000"/>
              <a:gd name="adj2" fmla="val 49994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29709" name="Up Arrow 402"/>
          <p:cNvSpPr>
            <a:spLocks noChangeArrowheads="1"/>
          </p:cNvSpPr>
          <p:nvPr/>
        </p:nvSpPr>
        <p:spPr bwMode="auto">
          <a:xfrm rot="-1575776">
            <a:off x="4176713" y="2461984"/>
            <a:ext cx="361950" cy="944563"/>
          </a:xfrm>
          <a:prstGeom prst="upArrow">
            <a:avLst>
              <a:gd name="adj1" fmla="val 50000"/>
              <a:gd name="adj2" fmla="val 49994"/>
            </a:avLst>
          </a:prstGeom>
          <a:gradFill rotWithShape="1">
            <a:gsLst>
              <a:gs pos="0">
                <a:srgbClr val="FFB977"/>
              </a:gs>
              <a:gs pos="100000">
                <a:srgbClr val="FF932B"/>
              </a:gs>
            </a:gsLst>
            <a:lin ang="5400000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/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404" name="Freeform 403">
            <a:hlinkClick r:id="rId2" action="ppaction://hlinksldjump"/>
          </p:cNvPr>
          <p:cNvSpPr/>
          <p:nvPr/>
        </p:nvSpPr>
        <p:spPr>
          <a:xfrm>
            <a:off x="2713038" y="1742847"/>
            <a:ext cx="1468437" cy="685800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 err="1"/>
              <a:t>Penetapan</a:t>
            </a:r>
            <a:r>
              <a:rPr lang="en-US" sz="1400" dirty="0"/>
              <a:t> Proyek Strategis Nasional</a:t>
            </a:r>
          </a:p>
        </p:txBody>
      </p:sp>
      <p:sp>
        <p:nvSpPr>
          <p:cNvPr id="405" name="Freeform 404">
            <a:hlinkClick r:id="" action="ppaction://noaction"/>
          </p:cNvPr>
          <p:cNvSpPr/>
          <p:nvPr/>
        </p:nvSpPr>
        <p:spPr>
          <a:xfrm>
            <a:off x="5697538" y="1742847"/>
            <a:ext cx="1471612" cy="685800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yelesaian Perizinan &amp; Non Perizinan</a:t>
            </a:r>
          </a:p>
        </p:txBody>
      </p:sp>
      <p:sp>
        <p:nvSpPr>
          <p:cNvPr id="406" name="Freeform 405">
            <a:hlinkClick r:id="" action="ppaction://noaction"/>
          </p:cNvPr>
          <p:cNvSpPr/>
          <p:nvPr/>
        </p:nvSpPr>
        <p:spPr>
          <a:xfrm>
            <a:off x="6724650" y="2752497"/>
            <a:ext cx="1535113" cy="685800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gaturan Tata Ruang</a:t>
            </a:r>
          </a:p>
        </p:txBody>
      </p:sp>
      <p:sp>
        <p:nvSpPr>
          <p:cNvPr id="407" name="Freeform 406">
            <a:hlinkClick r:id="" action="ppaction://noaction"/>
          </p:cNvPr>
          <p:cNvSpPr/>
          <p:nvPr/>
        </p:nvSpPr>
        <p:spPr>
          <a:xfrm>
            <a:off x="7296150" y="3822472"/>
            <a:ext cx="1533525" cy="687387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 err="1"/>
              <a:t>Percepatan</a:t>
            </a:r>
            <a:r>
              <a:rPr lang="en-US" sz="1400" dirty="0"/>
              <a:t> </a:t>
            </a:r>
            <a:r>
              <a:rPr lang="en-US" sz="1400" dirty="0" err="1"/>
              <a:t>Penyediaan</a:t>
            </a:r>
            <a:r>
              <a:rPr lang="en-US" sz="1400" dirty="0"/>
              <a:t> Tanah</a:t>
            </a:r>
          </a:p>
        </p:txBody>
      </p:sp>
      <p:sp>
        <p:nvSpPr>
          <p:cNvPr id="408" name="Freeform 407">
            <a:hlinkClick r:id="" action="ppaction://noaction"/>
          </p:cNvPr>
          <p:cNvSpPr/>
          <p:nvPr/>
        </p:nvSpPr>
        <p:spPr>
          <a:xfrm>
            <a:off x="6683375" y="4870222"/>
            <a:ext cx="1535113" cy="687387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ggunaan Komponen Dalam Negeri</a:t>
            </a:r>
          </a:p>
        </p:txBody>
      </p:sp>
      <p:sp>
        <p:nvSpPr>
          <p:cNvPr id="409" name="Freeform 408">
            <a:hlinkClick r:id="" action="ppaction://noaction"/>
          </p:cNvPr>
          <p:cNvSpPr/>
          <p:nvPr/>
        </p:nvSpPr>
        <p:spPr>
          <a:xfrm>
            <a:off x="1222375" y="3849459"/>
            <a:ext cx="1552575" cy="685800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rcepatan Pengadaan Barang dan Jasa</a:t>
            </a:r>
          </a:p>
        </p:txBody>
      </p:sp>
      <p:sp>
        <p:nvSpPr>
          <p:cNvPr id="410" name="Freeform 409">
            <a:hlinkClick r:id="" action="ppaction://noaction"/>
          </p:cNvPr>
          <p:cNvSpPr/>
          <p:nvPr/>
        </p:nvSpPr>
        <p:spPr>
          <a:xfrm>
            <a:off x="1752600" y="4895622"/>
            <a:ext cx="1565275" cy="687387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yelesaian Permasalahan dan Hambatan</a:t>
            </a:r>
          </a:p>
        </p:txBody>
      </p:sp>
      <p:sp>
        <p:nvSpPr>
          <p:cNvPr id="411" name="Freeform 410">
            <a:hlinkClick r:id="" action="ppaction://noaction"/>
          </p:cNvPr>
          <p:cNvSpPr/>
          <p:nvPr/>
        </p:nvSpPr>
        <p:spPr>
          <a:xfrm>
            <a:off x="1766888" y="2844572"/>
            <a:ext cx="1416050" cy="687387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yelesaian  Permasalahan Hukum</a:t>
            </a:r>
          </a:p>
        </p:txBody>
      </p:sp>
      <p:grpSp>
        <p:nvGrpSpPr>
          <p:cNvPr id="29718" name="Group 411"/>
          <p:cNvGrpSpPr>
            <a:grpSpLocks/>
          </p:cNvGrpSpPr>
          <p:nvPr/>
        </p:nvGrpSpPr>
        <p:grpSpPr bwMode="auto">
          <a:xfrm>
            <a:off x="3751263" y="2911247"/>
            <a:ext cx="2438400" cy="2727325"/>
            <a:chOff x="-953911" y="1473367"/>
            <a:chExt cx="2438400" cy="2727105"/>
          </a:xfrm>
        </p:grpSpPr>
        <p:pic>
          <p:nvPicPr>
            <p:cNvPr id="413" name="Picture 412" descr="imgres.png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893172" y="1473367"/>
              <a:ext cx="2292995" cy="2727105"/>
            </a:xfrm>
            <a:prstGeom prst="rect">
              <a:avLst/>
            </a:prstGeom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</p:pic>
        <p:sp>
          <p:nvSpPr>
            <p:cNvPr id="29725" name="TextBox 413"/>
            <p:cNvSpPr txBox="1">
              <a:spLocks noChangeArrowheads="1"/>
            </p:cNvSpPr>
            <p:nvPr/>
          </p:nvSpPr>
          <p:spPr bwMode="auto">
            <a:xfrm>
              <a:off x="-953911" y="1903132"/>
              <a:ext cx="2438400" cy="1200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/>
              <a:r>
                <a:rPr lang="en-US" sz="1800" dirty="0" err="1">
                  <a:solidFill>
                    <a:srgbClr val="FFFFFF"/>
                  </a:solidFill>
                </a:rPr>
                <a:t>Fasilitas</a:t>
              </a:r>
              <a:r>
                <a:rPr lang="en-US" sz="1800" dirty="0">
                  <a:solidFill>
                    <a:srgbClr val="FFFFFF"/>
                  </a:solidFill>
                </a:rPr>
                <a:t> yang </a:t>
              </a:r>
              <a:r>
                <a:rPr lang="en-US" sz="1800" dirty="0" err="1">
                  <a:solidFill>
                    <a:srgbClr val="FFFFFF"/>
                  </a:solidFill>
                </a:rPr>
                <a:t>diberikan</a:t>
              </a:r>
              <a:r>
                <a:rPr lang="en-US" sz="1800" dirty="0">
                  <a:solidFill>
                    <a:srgbClr val="FFFFFF"/>
                  </a:solidFill>
                </a:rPr>
                <a:t> </a:t>
              </a:r>
              <a:r>
                <a:rPr lang="en-US" sz="1800" dirty="0" err="1">
                  <a:solidFill>
                    <a:srgbClr val="FFFFFF"/>
                  </a:solidFill>
                </a:rPr>
                <a:t>Perpres</a:t>
              </a:r>
              <a:endParaRPr lang="en-US" sz="1800" dirty="0">
                <a:solidFill>
                  <a:srgbClr val="FFFFFF"/>
                </a:solidFill>
              </a:endParaRPr>
            </a:p>
            <a:p>
              <a:pPr algn="ctr"/>
              <a:r>
                <a:rPr lang="en-US" sz="1800" dirty="0">
                  <a:solidFill>
                    <a:srgbClr val="FFFFFF"/>
                  </a:solidFill>
                </a:rPr>
                <a:t>No. 3 </a:t>
              </a:r>
              <a:r>
                <a:rPr lang="en-US" sz="1800" dirty="0" err="1" smtClean="0">
                  <a:solidFill>
                    <a:srgbClr val="FFFFFF"/>
                  </a:solidFill>
                </a:rPr>
                <a:t>Tahun</a:t>
              </a:r>
              <a:r>
                <a:rPr lang="en-US" sz="1800" dirty="0" smtClean="0">
                  <a:solidFill>
                    <a:srgbClr val="FFFFFF"/>
                  </a:solidFill>
                </a:rPr>
                <a:t> </a:t>
              </a:r>
              <a:r>
                <a:rPr lang="en-US" sz="1800" dirty="0">
                  <a:solidFill>
                    <a:srgbClr val="FFFFFF"/>
                  </a:solidFill>
                </a:rPr>
                <a:t>2016</a:t>
              </a:r>
            </a:p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pic>
          <p:nvPicPr>
            <p:cNvPr id="29726" name="Picture 414" descr="Screen Shot 2016-09-04 at 4.15.31 PM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81380" y="2890883"/>
              <a:ext cx="858845" cy="610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16" name="Freeform 415">
            <a:hlinkClick r:id="" action="ppaction://noaction"/>
          </p:cNvPr>
          <p:cNvSpPr/>
          <p:nvPr/>
        </p:nvSpPr>
        <p:spPr>
          <a:xfrm>
            <a:off x="5641975" y="5868759"/>
            <a:ext cx="1535113" cy="685800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mberian Jaminan Pemerintah</a:t>
            </a:r>
          </a:p>
        </p:txBody>
      </p:sp>
      <p:sp>
        <p:nvSpPr>
          <p:cNvPr id="417" name="Freeform 416">
            <a:hlinkClick r:id="" action="ppaction://noaction"/>
          </p:cNvPr>
          <p:cNvSpPr/>
          <p:nvPr/>
        </p:nvSpPr>
        <p:spPr>
          <a:xfrm>
            <a:off x="2838450" y="5873522"/>
            <a:ext cx="1536700" cy="687387"/>
          </a:xfrm>
          <a:custGeom>
            <a:avLst/>
            <a:gdLst>
              <a:gd name="connsiteX0" fmla="*/ 0 w 858107"/>
              <a:gd name="connsiteY0" fmla="*/ 68649 h 686485"/>
              <a:gd name="connsiteX1" fmla="*/ 68649 w 858107"/>
              <a:gd name="connsiteY1" fmla="*/ 0 h 686485"/>
              <a:gd name="connsiteX2" fmla="*/ 789459 w 858107"/>
              <a:gd name="connsiteY2" fmla="*/ 0 h 686485"/>
              <a:gd name="connsiteX3" fmla="*/ 858108 w 858107"/>
              <a:gd name="connsiteY3" fmla="*/ 68649 h 686485"/>
              <a:gd name="connsiteX4" fmla="*/ 858107 w 858107"/>
              <a:gd name="connsiteY4" fmla="*/ 617837 h 686485"/>
              <a:gd name="connsiteX5" fmla="*/ 789458 w 858107"/>
              <a:gd name="connsiteY5" fmla="*/ 686486 h 686485"/>
              <a:gd name="connsiteX6" fmla="*/ 68649 w 858107"/>
              <a:gd name="connsiteY6" fmla="*/ 686485 h 686485"/>
              <a:gd name="connsiteX7" fmla="*/ 0 w 858107"/>
              <a:gd name="connsiteY7" fmla="*/ 617836 h 686485"/>
              <a:gd name="connsiteX8" fmla="*/ 0 w 858107"/>
              <a:gd name="connsiteY8" fmla="*/ 68649 h 68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8107" h="686485">
                <a:moveTo>
                  <a:pt x="0" y="68649"/>
                </a:moveTo>
                <a:cubicBezTo>
                  <a:pt x="0" y="30735"/>
                  <a:pt x="30735" y="0"/>
                  <a:pt x="68649" y="0"/>
                </a:cubicBezTo>
                <a:lnTo>
                  <a:pt x="789459" y="0"/>
                </a:lnTo>
                <a:cubicBezTo>
                  <a:pt x="827373" y="0"/>
                  <a:pt x="858108" y="30735"/>
                  <a:pt x="858108" y="68649"/>
                </a:cubicBezTo>
                <a:cubicBezTo>
                  <a:pt x="858108" y="251712"/>
                  <a:pt x="858107" y="434774"/>
                  <a:pt x="858107" y="617837"/>
                </a:cubicBezTo>
                <a:cubicBezTo>
                  <a:pt x="858107" y="655751"/>
                  <a:pt x="827372" y="686486"/>
                  <a:pt x="789458" y="686486"/>
                </a:cubicBezTo>
                <a:lnTo>
                  <a:pt x="68649" y="686485"/>
                </a:lnTo>
                <a:cubicBezTo>
                  <a:pt x="30735" y="686485"/>
                  <a:pt x="0" y="655750"/>
                  <a:pt x="0" y="617836"/>
                </a:cubicBezTo>
                <a:lnTo>
                  <a:pt x="0" y="686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7251" tIns="37251" rIns="37251" bIns="37251" spcCol="1270" anchor="ctr"/>
          <a:lstStyle/>
          <a:p>
            <a:pPr algn="ctr" defTabSz="4000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dirty="0"/>
              <a:t>Penugasan BUMN</a:t>
            </a:r>
          </a:p>
        </p:txBody>
      </p:sp>
      <p:sp>
        <p:nvSpPr>
          <p:cNvPr id="29" name="Rectangle 21"/>
          <p:cNvSpPr>
            <a:spLocks noChangeArrowheads="1"/>
          </p:cNvSpPr>
          <p:nvPr/>
        </p:nvSpPr>
        <p:spPr bwMode="auto">
          <a:xfrm>
            <a:off x="617825" y="886298"/>
            <a:ext cx="891744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000000"/>
                </a:solidFill>
              </a:rPr>
              <a:t>Penerbit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</a:rPr>
              <a:t>Perpres</a:t>
            </a:r>
            <a:r>
              <a:rPr lang="en-US" sz="1200" b="1" dirty="0" smtClean="0">
                <a:solidFill>
                  <a:srgbClr val="000000"/>
                </a:solidFill>
              </a:rPr>
              <a:t> No. 3/2016 </a:t>
            </a:r>
            <a:r>
              <a:rPr lang="en-US" sz="1200" b="1" dirty="0" err="1" smtClean="0">
                <a:solidFill>
                  <a:srgbClr val="000000"/>
                </a:solidFill>
              </a:rPr>
              <a:t>tentang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</a:rPr>
              <a:t>Percepatan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</a:rPr>
              <a:t>Pelaksanaan</a:t>
            </a:r>
            <a:r>
              <a:rPr lang="en-US" sz="1200" b="1" dirty="0" smtClean="0">
                <a:solidFill>
                  <a:srgbClr val="000000"/>
                </a:solidFill>
              </a:rPr>
              <a:t> PSN </a:t>
            </a:r>
            <a:r>
              <a:rPr lang="en-US" sz="1200" dirty="0" err="1" smtClean="0">
                <a:solidFill>
                  <a:srgbClr val="000000"/>
                </a:solidFill>
              </a:rPr>
              <a:t>diharapk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dapa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mempercepa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pelaksanaan</a:t>
            </a:r>
            <a:r>
              <a:rPr lang="en-US" sz="1200" dirty="0" smtClean="0">
                <a:solidFill>
                  <a:srgbClr val="000000"/>
                </a:solidFill>
              </a:rPr>
              <a:t> PSN </a:t>
            </a:r>
            <a:r>
              <a:rPr lang="en-US" sz="1200" dirty="0" err="1" smtClean="0">
                <a:solidFill>
                  <a:srgbClr val="000000"/>
                </a:solidFill>
              </a:rPr>
              <a:t>melalui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sejumlah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fasilitas</a:t>
            </a:r>
            <a:r>
              <a:rPr lang="en-US" sz="1200" dirty="0" smtClean="0">
                <a:solidFill>
                  <a:srgbClr val="000000"/>
                </a:solidFill>
              </a:rPr>
              <a:t> yang </a:t>
            </a:r>
            <a:r>
              <a:rPr lang="en-US" sz="1200" dirty="0" err="1" smtClean="0">
                <a:solidFill>
                  <a:srgbClr val="000000"/>
                </a:solidFill>
              </a:rPr>
              <a:t>diatur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didalamnya</a:t>
            </a:r>
            <a:r>
              <a:rPr lang="en-US" sz="1200" dirty="0" smtClean="0">
                <a:solidFill>
                  <a:srgbClr val="000000"/>
                </a:solidFill>
              </a:rPr>
              <a:t>. </a:t>
            </a:r>
            <a:r>
              <a:rPr lang="en-US" sz="1200" dirty="0" err="1" smtClean="0">
                <a:solidFill>
                  <a:srgbClr val="000000"/>
                </a:solidFill>
              </a:rPr>
              <a:t>Selai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itu</a:t>
            </a:r>
            <a:r>
              <a:rPr lang="en-US" sz="1200" dirty="0" smtClean="0">
                <a:solidFill>
                  <a:srgbClr val="000000"/>
                </a:solidFill>
              </a:rPr>
              <a:t>, </a:t>
            </a:r>
            <a:r>
              <a:rPr lang="en-US" sz="1200" b="1" dirty="0" err="1" smtClean="0">
                <a:solidFill>
                  <a:srgbClr val="000000"/>
                </a:solidFill>
              </a:rPr>
              <a:t>Inpres</a:t>
            </a:r>
            <a:r>
              <a:rPr lang="en-US" sz="1200" b="1" dirty="0" smtClean="0">
                <a:solidFill>
                  <a:srgbClr val="000000"/>
                </a:solidFill>
              </a:rPr>
              <a:t> No. 1/2016 </a:t>
            </a:r>
            <a:r>
              <a:rPr lang="en-US" sz="1200" b="1" dirty="0" err="1" smtClean="0">
                <a:solidFill>
                  <a:srgbClr val="000000"/>
                </a:solidFill>
              </a:rPr>
              <a:t>tentang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Percepatan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Pelaksanaan</a:t>
            </a:r>
            <a:r>
              <a:rPr lang="en-US" sz="1200" b="1" dirty="0">
                <a:solidFill>
                  <a:srgbClr val="000000"/>
                </a:solidFill>
              </a:rPr>
              <a:t> PSN </a:t>
            </a:r>
            <a:r>
              <a:rPr lang="en-US" sz="1200" dirty="0" err="1" smtClean="0">
                <a:solidFill>
                  <a:srgbClr val="000000"/>
                </a:solidFill>
              </a:rPr>
              <a:t>secara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khusus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memberik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manda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kepada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pemangku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kepenting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terkai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untuk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mendukung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percepat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pelaksanaa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PSN.  </a:t>
            </a:r>
            <a:endParaRPr lang="en-US" sz="12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4869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495300" y="63134"/>
            <a:ext cx="9077198" cy="662305"/>
          </a:xfrm>
          <a:prstGeom prst="rect">
            <a:avLst/>
          </a:prstGeom>
        </p:spPr>
        <p:txBody>
          <a:bodyPr vert="horz" wrap="square" lIns="107263" tIns="53630" rIns="107263" bIns="53630" rtlCol="0" anchor="ctr">
            <a:spAutoFit/>
          </a:bodyPr>
          <a:lstStyle>
            <a:lvl1pPr algn="l" defTabSz="536311" rtl="0" eaLnBrk="1" latinLnBrk="0" hangingPunct="1">
              <a:spcBef>
                <a:spcPct val="0"/>
              </a:spcBef>
              <a:buNone/>
              <a:defRPr lang="en-US" sz="2800" b="1" kern="1200" smtClean="0">
                <a:solidFill>
                  <a:schemeClr val="accent6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1800" dirty="0" err="1"/>
              <a:t>Proyek</a:t>
            </a:r>
            <a:r>
              <a:rPr lang="en-US" sz="1800" dirty="0"/>
              <a:t> </a:t>
            </a:r>
            <a:r>
              <a:rPr lang="en-US" sz="1800" dirty="0" err="1"/>
              <a:t>Strategis</a:t>
            </a:r>
            <a:r>
              <a:rPr lang="en-US" sz="1800" dirty="0"/>
              <a:t> Nasional (PSN) </a:t>
            </a:r>
            <a:r>
              <a:rPr lang="en-US" sz="1800" dirty="0" err="1"/>
              <a:t>terdiri</a:t>
            </a:r>
            <a:r>
              <a:rPr lang="en-US" sz="1800" dirty="0"/>
              <a:t> </a:t>
            </a:r>
            <a:r>
              <a:rPr lang="en-US" sz="1800" dirty="0" err="1"/>
              <a:t>dari</a:t>
            </a:r>
            <a:r>
              <a:rPr lang="en-US" sz="1800" dirty="0"/>
              <a:t> 225 </a:t>
            </a:r>
            <a:r>
              <a:rPr lang="en-US" sz="1800" dirty="0" err="1" smtClean="0"/>
              <a:t>proyek</a:t>
            </a:r>
            <a:r>
              <a:rPr lang="en-US" sz="1800" dirty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/>
              <a:t>1 program </a:t>
            </a:r>
            <a:r>
              <a:rPr lang="en-US" sz="1800" dirty="0" err="1"/>
              <a:t>kelistrikan</a:t>
            </a:r>
            <a:r>
              <a:rPr lang="en-US" sz="1800" dirty="0"/>
              <a:t> yang </a:t>
            </a:r>
            <a:r>
              <a:rPr lang="en-US" sz="1800" dirty="0" err="1"/>
              <a:t>tersebar</a:t>
            </a:r>
            <a:r>
              <a:rPr lang="en-US" sz="1800" dirty="0"/>
              <a:t> di </a:t>
            </a:r>
            <a:r>
              <a:rPr lang="en-US" sz="1800" dirty="0" err="1"/>
              <a:t>seluruh</a:t>
            </a:r>
            <a:r>
              <a:rPr lang="en-US" sz="1800" dirty="0"/>
              <a:t> </a:t>
            </a:r>
            <a:r>
              <a:rPr lang="en-US" sz="1800" dirty="0" smtClean="0"/>
              <a:t>Indonesia </a:t>
            </a:r>
            <a:r>
              <a:rPr lang="en-US" sz="1800" dirty="0" err="1" smtClean="0">
                <a:solidFill>
                  <a:srgbClr val="F79646"/>
                </a:solidFill>
              </a:rPr>
              <a:t>dengan</a:t>
            </a:r>
            <a:r>
              <a:rPr lang="en-US" sz="1800" dirty="0" smtClean="0">
                <a:solidFill>
                  <a:srgbClr val="F79646"/>
                </a:solidFill>
              </a:rPr>
              <a:t> </a:t>
            </a:r>
            <a:r>
              <a:rPr lang="en-US" sz="1800" dirty="0">
                <a:solidFill>
                  <a:srgbClr val="F79646"/>
                </a:solidFill>
              </a:rPr>
              <a:t>total </a:t>
            </a:r>
            <a:r>
              <a:rPr lang="en-US" sz="1800" dirty="0" err="1">
                <a:solidFill>
                  <a:srgbClr val="F79646"/>
                </a:solidFill>
              </a:rPr>
              <a:t>nilai</a:t>
            </a:r>
            <a:r>
              <a:rPr lang="en-US" sz="1800" dirty="0">
                <a:solidFill>
                  <a:srgbClr val="F79646"/>
                </a:solidFill>
              </a:rPr>
              <a:t> </a:t>
            </a:r>
            <a:r>
              <a:rPr lang="en-US" sz="1800" dirty="0" err="1">
                <a:solidFill>
                  <a:srgbClr val="F79646"/>
                </a:solidFill>
              </a:rPr>
              <a:t>investasi</a:t>
            </a:r>
            <a:r>
              <a:rPr lang="en-US" sz="1800" dirty="0">
                <a:solidFill>
                  <a:srgbClr val="F79646"/>
                </a:solidFill>
              </a:rPr>
              <a:t> </a:t>
            </a:r>
            <a:r>
              <a:rPr lang="en-US" sz="1800" dirty="0" err="1">
                <a:solidFill>
                  <a:srgbClr val="F79646"/>
                </a:solidFill>
              </a:rPr>
              <a:t>sebesar</a:t>
            </a:r>
            <a:r>
              <a:rPr lang="en-US" sz="1800" dirty="0">
                <a:solidFill>
                  <a:srgbClr val="F79646"/>
                </a:solidFill>
              </a:rPr>
              <a:t> </a:t>
            </a:r>
            <a:r>
              <a:rPr lang="en-US" sz="1800" dirty="0" smtClean="0">
                <a:solidFill>
                  <a:srgbClr val="F79646"/>
                </a:solidFill>
              </a:rPr>
              <a:t>Rp2.928 T</a:t>
            </a:r>
            <a:endParaRPr lang="en-US" sz="1800" dirty="0">
              <a:solidFill>
                <a:srgbClr val="F79646"/>
              </a:solidFill>
            </a:endParaRPr>
          </a:p>
        </p:txBody>
      </p:sp>
      <p:sp>
        <p:nvSpPr>
          <p:cNvPr id="6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1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85" y="1041008"/>
            <a:ext cx="9776030" cy="3993968"/>
          </a:xfrm>
          <a:prstGeom prst="rect">
            <a:avLst/>
          </a:prstGeom>
        </p:spPr>
      </p:pic>
      <p:grpSp>
        <p:nvGrpSpPr>
          <p:cNvPr id="64" name="Group 63"/>
          <p:cNvGrpSpPr/>
          <p:nvPr/>
        </p:nvGrpSpPr>
        <p:grpSpPr>
          <a:xfrm>
            <a:off x="4906696" y="3419086"/>
            <a:ext cx="903735" cy="424026"/>
            <a:chOff x="4529257" y="3419086"/>
            <a:chExt cx="834217" cy="424026"/>
          </a:xfrm>
        </p:grpSpPr>
        <p:sp>
          <p:nvSpPr>
            <p:cNvPr id="65" name="Pentagon 64"/>
            <p:cNvSpPr/>
            <p:nvPr/>
          </p:nvSpPr>
          <p:spPr>
            <a:xfrm>
              <a:off x="4529257" y="3674331"/>
              <a:ext cx="834217" cy="168781"/>
            </a:xfrm>
            <a:prstGeom prst="homePlate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Pentagon 65"/>
            <p:cNvSpPr/>
            <p:nvPr/>
          </p:nvSpPr>
          <p:spPr>
            <a:xfrm>
              <a:off x="4531367" y="3419086"/>
              <a:ext cx="832107" cy="185831"/>
            </a:xfrm>
            <a:prstGeom prst="homePlate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534952" y="3599976"/>
              <a:ext cx="752491" cy="87055"/>
            </a:xfrm>
            <a:prstGeom prst="rect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Isosceles Triangle 67"/>
            <p:cNvSpPr/>
            <p:nvPr/>
          </p:nvSpPr>
          <p:spPr>
            <a:xfrm rot="16200000">
              <a:off x="5200002" y="3599474"/>
              <a:ext cx="144882" cy="70370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016" y="5187905"/>
            <a:ext cx="9478534" cy="1418167"/>
          </a:xfrm>
          <a:prstGeom prst="rect">
            <a:avLst/>
          </a:prstGeom>
        </p:spPr>
      </p:pic>
      <p:pic>
        <p:nvPicPr>
          <p:cNvPr id="70" name="Picture 69" descr="Backgroun Presentasi kppip 2-0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08436"/>
            <a:ext cx="9906000" cy="279458"/>
          </a:xfrm>
          <a:prstGeom prst="rect">
            <a:avLst/>
          </a:prstGeom>
        </p:spPr>
      </p:pic>
      <p:sp>
        <p:nvSpPr>
          <p:cNvPr id="71" name="TextBox 18"/>
          <p:cNvSpPr txBox="1">
            <a:spLocks noChangeArrowheads="1"/>
          </p:cNvSpPr>
          <p:nvPr/>
        </p:nvSpPr>
        <p:spPr bwMode="auto">
          <a:xfrm>
            <a:off x="3645740" y="4906013"/>
            <a:ext cx="2699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PSN </a:t>
            </a:r>
            <a:r>
              <a:rPr lang="en-US" sz="1200" b="1" i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existing</a:t>
            </a:r>
            <a:r>
              <a:rPr lang="en-US" sz="12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m</a:t>
            </a:r>
            <a:r>
              <a:rPr lang="en-US" sz="12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encakup</a:t>
            </a:r>
            <a:r>
              <a:rPr lang="en-US" sz="12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14 </a:t>
            </a:r>
            <a:r>
              <a:rPr lang="en-US" sz="12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sektor</a:t>
            </a:r>
            <a:r>
              <a:rPr lang="en-US" sz="12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:</a:t>
            </a:r>
            <a:endParaRPr lang="en-US" sz="1200" b="1" dirty="0">
              <a:solidFill>
                <a:schemeClr val="bg1"/>
              </a:solidFill>
              <a:latin typeface="Helvetica" panose="020B0604020202020204" pitchFamily="34" charset="0"/>
              <a:ea typeface="Arial" charset="0"/>
              <a:cs typeface="Helvetica" panose="020B0604020202020204" pitchFamily="34" charset="0"/>
            </a:endParaRPr>
          </a:p>
        </p:txBody>
      </p:sp>
      <p:sp>
        <p:nvSpPr>
          <p:cNvPr id="72" name="Slide Number Placeholder 3"/>
          <p:cNvSpPr txBox="1">
            <a:spLocks/>
          </p:cNvSpPr>
          <p:nvPr/>
        </p:nvSpPr>
        <p:spPr>
          <a:xfrm>
            <a:off x="9324975" y="6507888"/>
            <a:ext cx="418974" cy="22713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311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2621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8932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5243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1554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7864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54175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90486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/>
          </a:p>
        </p:txBody>
      </p:sp>
      <p:sp>
        <p:nvSpPr>
          <p:cNvPr id="73" name="Rounded Rectangle 72"/>
          <p:cNvSpPr/>
          <p:nvPr/>
        </p:nvSpPr>
        <p:spPr>
          <a:xfrm>
            <a:off x="4483865" y="3365719"/>
            <a:ext cx="429000" cy="527076"/>
          </a:xfrm>
          <a:prstGeom prst="roundRect">
            <a:avLst/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/>
        </p:nvSpPr>
        <p:spPr>
          <a:xfrm>
            <a:off x="4509112" y="3604918"/>
            <a:ext cx="355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10</a:t>
            </a:r>
            <a:endParaRPr lang="en-US" sz="12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4557556" y="3364336"/>
            <a:ext cx="270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1</a:t>
            </a:r>
            <a:endParaRPr lang="en-US" sz="1200" b="1" dirty="0"/>
          </a:p>
        </p:txBody>
      </p:sp>
      <p:sp>
        <p:nvSpPr>
          <p:cNvPr id="76" name="Pentagon 75"/>
          <p:cNvSpPr/>
          <p:nvPr/>
        </p:nvSpPr>
        <p:spPr>
          <a:xfrm>
            <a:off x="4488238" y="3532174"/>
            <a:ext cx="115548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Pentagon 76"/>
          <p:cNvSpPr/>
          <p:nvPr/>
        </p:nvSpPr>
        <p:spPr>
          <a:xfrm flipH="1">
            <a:off x="4810371" y="3524782"/>
            <a:ext cx="102494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ounded Rectangle 77"/>
          <p:cNvSpPr/>
          <p:nvPr/>
        </p:nvSpPr>
        <p:spPr>
          <a:xfrm>
            <a:off x="4519923" y="3388763"/>
            <a:ext cx="354546" cy="479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/>
          <p:cNvSpPr txBox="1"/>
          <p:nvPr/>
        </p:nvSpPr>
        <p:spPr>
          <a:xfrm>
            <a:off x="4558031" y="3604918"/>
            <a:ext cx="270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/>
              <a:t>9</a:t>
            </a:r>
            <a:endParaRPr lang="en-US" sz="1200" b="1" dirty="0"/>
          </a:p>
        </p:txBody>
      </p:sp>
      <p:sp>
        <p:nvSpPr>
          <p:cNvPr id="80" name="TextBox 79"/>
          <p:cNvSpPr txBox="1"/>
          <p:nvPr/>
        </p:nvSpPr>
        <p:spPr>
          <a:xfrm>
            <a:off x="4557556" y="3364336"/>
            <a:ext cx="270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1</a:t>
            </a:r>
            <a:endParaRPr lang="en-US" sz="1200" b="1" dirty="0"/>
          </a:p>
        </p:txBody>
      </p:sp>
      <p:sp>
        <p:nvSpPr>
          <p:cNvPr id="81" name="Pentagon 80"/>
          <p:cNvSpPr/>
          <p:nvPr/>
        </p:nvSpPr>
        <p:spPr>
          <a:xfrm>
            <a:off x="4488238" y="3541007"/>
            <a:ext cx="115548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Pentagon 81"/>
          <p:cNvSpPr/>
          <p:nvPr/>
        </p:nvSpPr>
        <p:spPr>
          <a:xfrm flipH="1">
            <a:off x="4810371" y="3533615"/>
            <a:ext cx="102494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4538432" y="3619414"/>
            <a:ext cx="354546" cy="45719"/>
          </a:xfrm>
          <a:prstGeom prst="rect">
            <a:avLst/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83"/>
          <p:cNvSpPr txBox="1"/>
          <p:nvPr/>
        </p:nvSpPr>
        <p:spPr>
          <a:xfrm>
            <a:off x="4887274" y="3620725"/>
            <a:ext cx="46679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00" dirty="0" err="1" smtClean="0">
                <a:solidFill>
                  <a:schemeClr val="bg1"/>
                </a:solidFill>
              </a:rPr>
              <a:t>Proyek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871660" y="3408034"/>
            <a:ext cx="530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00" dirty="0" smtClean="0">
                <a:solidFill>
                  <a:schemeClr val="bg1"/>
                </a:solidFill>
              </a:rPr>
              <a:t>Program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1182454" y="2459198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38B6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ounded Rectangle 86"/>
          <p:cNvSpPr/>
          <p:nvPr/>
        </p:nvSpPr>
        <p:spPr>
          <a:xfrm>
            <a:off x="1221827" y="2487344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/>
          <p:cNvSpPr txBox="1"/>
          <p:nvPr/>
        </p:nvSpPr>
        <p:spPr>
          <a:xfrm>
            <a:off x="1214828" y="2430002"/>
            <a:ext cx="7788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276,5 T</a:t>
            </a:r>
            <a:endParaRPr lang="en-US" sz="1000" dirty="0"/>
          </a:p>
        </p:txBody>
      </p:sp>
      <p:sp>
        <p:nvSpPr>
          <p:cNvPr id="89" name="Rounded Rectangle 88"/>
          <p:cNvSpPr/>
          <p:nvPr/>
        </p:nvSpPr>
        <p:spPr>
          <a:xfrm>
            <a:off x="3547497" y="2429568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1B416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ounded Rectangle 89"/>
          <p:cNvSpPr/>
          <p:nvPr/>
        </p:nvSpPr>
        <p:spPr>
          <a:xfrm>
            <a:off x="3586870" y="2457714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ounded Rectangle 90"/>
          <p:cNvSpPr/>
          <p:nvPr/>
        </p:nvSpPr>
        <p:spPr>
          <a:xfrm>
            <a:off x="5611675" y="2297949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AE4A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ounded Rectangle 91"/>
          <p:cNvSpPr/>
          <p:nvPr/>
        </p:nvSpPr>
        <p:spPr>
          <a:xfrm>
            <a:off x="5651048" y="2326095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ounded Rectangle 92"/>
          <p:cNvSpPr/>
          <p:nvPr/>
        </p:nvSpPr>
        <p:spPr>
          <a:xfrm>
            <a:off x="7152608" y="2526378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1D7E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ounded Rectangle 93"/>
          <p:cNvSpPr/>
          <p:nvPr/>
        </p:nvSpPr>
        <p:spPr>
          <a:xfrm>
            <a:off x="7191981" y="2554524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ounded Rectangle 94"/>
          <p:cNvSpPr/>
          <p:nvPr/>
        </p:nvSpPr>
        <p:spPr>
          <a:xfrm>
            <a:off x="5385323" y="4668273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577C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ounded Rectangle 95"/>
          <p:cNvSpPr/>
          <p:nvPr/>
        </p:nvSpPr>
        <p:spPr>
          <a:xfrm>
            <a:off x="5424696" y="4696419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ounded Rectangle 96"/>
          <p:cNvSpPr/>
          <p:nvPr/>
        </p:nvSpPr>
        <p:spPr>
          <a:xfrm>
            <a:off x="4303334" y="3891529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ounded Rectangle 97"/>
          <p:cNvSpPr/>
          <p:nvPr/>
        </p:nvSpPr>
        <p:spPr>
          <a:xfrm>
            <a:off x="4342708" y="3919675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ounded Rectangle 98"/>
          <p:cNvSpPr/>
          <p:nvPr/>
        </p:nvSpPr>
        <p:spPr>
          <a:xfrm>
            <a:off x="2800168" y="4012158"/>
            <a:ext cx="795211" cy="202391"/>
          </a:xfrm>
          <a:prstGeom prst="roundRect">
            <a:avLst>
              <a:gd name="adj" fmla="val 50000"/>
            </a:avLst>
          </a:prstGeom>
          <a:solidFill>
            <a:srgbClr val="C478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ounded Rectangle 99"/>
          <p:cNvSpPr/>
          <p:nvPr/>
        </p:nvSpPr>
        <p:spPr>
          <a:xfrm>
            <a:off x="2839541" y="4040304"/>
            <a:ext cx="722919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TextBox 100"/>
          <p:cNvSpPr txBox="1"/>
          <p:nvPr/>
        </p:nvSpPr>
        <p:spPr>
          <a:xfrm>
            <a:off x="3577852" y="2397904"/>
            <a:ext cx="6719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380 T</a:t>
            </a:r>
            <a:endParaRPr lang="en-US" sz="1000" dirty="0"/>
          </a:p>
        </p:txBody>
      </p:sp>
      <p:sp>
        <p:nvSpPr>
          <p:cNvPr id="102" name="TextBox 101"/>
          <p:cNvSpPr txBox="1"/>
          <p:nvPr/>
        </p:nvSpPr>
        <p:spPr>
          <a:xfrm>
            <a:off x="5646965" y="2265962"/>
            <a:ext cx="6719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172 T</a:t>
            </a:r>
            <a:endParaRPr lang="en-US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7200886" y="2500340"/>
            <a:ext cx="7104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48,1 T</a:t>
            </a:r>
            <a:endParaRPr lang="en-US" sz="1000" dirty="0"/>
          </a:p>
        </p:txBody>
      </p:sp>
      <p:sp>
        <p:nvSpPr>
          <p:cNvPr id="104" name="TextBox 103"/>
          <p:cNvSpPr txBox="1"/>
          <p:nvPr/>
        </p:nvSpPr>
        <p:spPr>
          <a:xfrm>
            <a:off x="4312522" y="3869312"/>
            <a:ext cx="7788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1.049 T</a:t>
            </a:r>
            <a:endParaRPr lang="en-US" sz="1000" dirty="0"/>
          </a:p>
        </p:txBody>
      </p:sp>
      <p:sp>
        <p:nvSpPr>
          <p:cNvPr id="105" name="TextBox 104"/>
          <p:cNvSpPr txBox="1"/>
          <p:nvPr/>
        </p:nvSpPr>
        <p:spPr>
          <a:xfrm>
            <a:off x="5507376" y="4642759"/>
            <a:ext cx="6361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9,4 T</a:t>
            </a:r>
            <a:endParaRPr lang="en-US" sz="1000" dirty="0"/>
          </a:p>
        </p:txBody>
      </p:sp>
      <p:sp>
        <p:nvSpPr>
          <p:cNvPr id="106" name="TextBox 105"/>
          <p:cNvSpPr txBox="1"/>
          <p:nvPr/>
        </p:nvSpPr>
        <p:spPr>
          <a:xfrm>
            <a:off x="2788191" y="3988405"/>
            <a:ext cx="7788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993,7 T</a:t>
            </a:r>
            <a:endParaRPr lang="en-US" sz="1000" dirty="0"/>
          </a:p>
        </p:txBody>
      </p:sp>
      <p:graphicFrame>
        <p:nvGraphicFramePr>
          <p:cNvPr id="107" name="Table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652633"/>
              </p:ext>
            </p:extLst>
          </p:nvPr>
        </p:nvGraphicFramePr>
        <p:xfrm>
          <a:off x="1850541" y="975154"/>
          <a:ext cx="937650" cy="134112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Jal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ereta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8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andar </a:t>
                      </a:r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Udara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Energi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rtanian</a:t>
                      </a:r>
                      <a:r>
                        <a:rPr lang="en-US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elaut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Air </a:t>
                      </a:r>
                      <a:r>
                        <a:rPr lang="en-US" sz="8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ersih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6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endung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2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Smelter</a:t>
                      </a:r>
                    </a:p>
                  </a:txBody>
                  <a:tcPr marL="39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B6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8" name="Table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612787"/>
              </p:ext>
            </p:extLst>
          </p:nvPr>
        </p:nvGraphicFramePr>
        <p:xfrm>
          <a:off x="1875111" y="3694145"/>
          <a:ext cx="937650" cy="109728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Jal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35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ereta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8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andar Udara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6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rumah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Energi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4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Air </a:t>
                      </a:r>
                      <a:r>
                        <a:rPr lang="en-US" sz="8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ersih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7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endung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783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3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9" name="Table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174402"/>
              </p:ext>
            </p:extLst>
          </p:nvPr>
        </p:nvGraphicFramePr>
        <p:xfrm>
          <a:off x="6025340" y="3878761"/>
          <a:ext cx="937650" cy="60960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andar </a:t>
                      </a:r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Udar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7C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7C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7C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endung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7C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0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LB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7C4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0" name="Table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198010"/>
              </p:ext>
            </p:extLst>
          </p:nvPr>
        </p:nvGraphicFramePr>
        <p:xfrm>
          <a:off x="7787797" y="1643703"/>
          <a:ext cx="937650" cy="73152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Jal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andar </a:t>
                      </a:r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Udar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5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LB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melte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7E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1" name="Table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33236"/>
              </p:ext>
            </p:extLst>
          </p:nvPr>
        </p:nvGraphicFramePr>
        <p:xfrm>
          <a:off x="4160895" y="1078748"/>
          <a:ext cx="937650" cy="109728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Jal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ereta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andar Udara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Energi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6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endunga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4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LBN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Smelte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41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2" name="Table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6484414"/>
              </p:ext>
            </p:extLst>
          </p:nvPr>
        </p:nvGraphicFramePr>
        <p:xfrm>
          <a:off x="6214096" y="1033388"/>
          <a:ext cx="937650" cy="1097280"/>
        </p:xfrm>
        <a:graphic>
          <a:graphicData uri="http://schemas.openxmlformats.org/drawingml/2006/table">
            <a:tbl>
              <a:tblPr/>
              <a:tblGrid>
                <a:gridCol w="741096"/>
                <a:gridCol w="196554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Jal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Keret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andar </a:t>
                      </a:r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Udara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elabuh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4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umber</a:t>
                      </a:r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Daya</a:t>
                      </a:r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Ai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4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endungan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1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melte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b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3" name="Table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186686"/>
              </p:ext>
            </p:extLst>
          </p:nvPr>
        </p:nvGraphicFramePr>
        <p:xfrm>
          <a:off x="5761614" y="2984664"/>
          <a:ext cx="842560" cy="853440"/>
        </p:xfrm>
        <a:graphic>
          <a:graphicData uri="http://schemas.openxmlformats.org/drawingml/2006/table">
            <a:tbl>
              <a:tblPr/>
              <a:tblGrid>
                <a:gridCol w="633721"/>
                <a:gridCol w="208839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rumah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Energi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Pertanian</a:t>
                      </a:r>
                      <a:r>
                        <a:rPr lang="en-US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elaut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2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Kawasan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Teknologi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3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Listrik</a:t>
                      </a:r>
                      <a:endParaRPr 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F2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 1 </a:t>
                      </a:r>
                    </a:p>
                  </a:txBody>
                  <a:tcPr marL="0" marR="39000" marT="0" marB="0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7977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572625" y="6500813"/>
            <a:ext cx="37941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DA26689-A24B-F54A-8C35-1B8C5B999FA4}" type="slidenum">
              <a:rPr lang="en-US" sz="800"/>
              <a:pPr/>
              <a:t>15</a:t>
            </a:fld>
            <a:endParaRPr lang="en-US" sz="800"/>
          </a:p>
        </p:txBody>
      </p:sp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495300" y="31770"/>
            <a:ext cx="8915400" cy="723861"/>
          </a:xfrm>
        </p:spPr>
        <p:txBody>
          <a:bodyPr/>
          <a:lstStyle/>
          <a:p>
            <a:r>
              <a:rPr lang="en-US" sz="2000" dirty="0" smtClean="0">
                <a:latin typeface="Arial" charset="0"/>
                <a:cs typeface="Arial" charset="0"/>
              </a:rPr>
              <a:t>Status </a:t>
            </a:r>
            <a:r>
              <a:rPr lang="en-US" sz="2000" dirty="0" err="1" smtClean="0">
                <a:latin typeface="Arial" charset="0"/>
                <a:cs typeface="Arial" charset="0"/>
              </a:rPr>
              <a:t>kemajuan</a:t>
            </a:r>
            <a:r>
              <a:rPr lang="en-US" sz="2000" dirty="0" smtClean="0">
                <a:latin typeface="Arial" charset="0"/>
                <a:cs typeface="Arial" charset="0"/>
              </a:rPr>
              <a:t> 225 </a:t>
            </a:r>
            <a:r>
              <a:rPr lang="en-US" sz="2000" dirty="0" err="1" smtClean="0">
                <a:latin typeface="Arial" charset="0"/>
                <a:cs typeface="Arial" charset="0"/>
              </a:rPr>
              <a:t>Proyek</a:t>
            </a:r>
            <a:r>
              <a:rPr lang="en-US" sz="2000" dirty="0" smtClean="0">
                <a:latin typeface="Arial" charset="0"/>
                <a:cs typeface="Arial" charset="0"/>
              </a:rPr>
              <a:t> </a:t>
            </a:r>
            <a:r>
              <a:rPr lang="en-US" sz="2000" dirty="0" err="1" smtClean="0">
                <a:latin typeface="Arial" charset="0"/>
                <a:cs typeface="Arial" charset="0"/>
              </a:rPr>
              <a:t>Strategis</a:t>
            </a:r>
            <a:r>
              <a:rPr lang="en-US" sz="2000" dirty="0" smtClean="0">
                <a:latin typeface="Arial" charset="0"/>
                <a:cs typeface="Arial" charset="0"/>
              </a:rPr>
              <a:t> </a:t>
            </a:r>
            <a:r>
              <a:rPr lang="en-US" sz="2000" dirty="0" err="1" smtClean="0">
                <a:latin typeface="Arial" charset="0"/>
                <a:cs typeface="Arial" charset="0"/>
              </a:rPr>
              <a:t>Nasional</a:t>
            </a:r>
            <a:r>
              <a:rPr lang="en-US" sz="2000" dirty="0" smtClean="0">
                <a:latin typeface="Arial" charset="0"/>
                <a:cs typeface="Arial" charset="0"/>
              </a:rPr>
              <a:t> (PSN) </a:t>
            </a:r>
            <a:r>
              <a:rPr lang="en-US" sz="2000" dirty="0">
                <a:latin typeface="Arial" charset="0"/>
                <a:cs typeface="Arial" charset="0"/>
              </a:rPr>
              <a:t>and </a:t>
            </a:r>
            <a:r>
              <a:rPr lang="en-US" sz="2000" dirty="0" smtClean="0">
                <a:latin typeface="Arial" charset="0"/>
                <a:cs typeface="Arial" charset="0"/>
              </a:rPr>
              <a:t>Program </a:t>
            </a:r>
            <a:r>
              <a:rPr lang="en-US" sz="2000" dirty="0" err="1" smtClean="0">
                <a:latin typeface="Arial" charset="0"/>
                <a:cs typeface="Arial" charset="0"/>
              </a:rPr>
              <a:t>Kelistrikan</a:t>
            </a:r>
            <a:r>
              <a:rPr lang="en-US" sz="2000" dirty="0" smtClean="0">
                <a:latin typeface="Arial" charset="0"/>
                <a:cs typeface="Arial" charset="0"/>
              </a:rPr>
              <a:t> 35 GW</a:t>
            </a:r>
            <a:endParaRPr lang="en-US" sz="2000" dirty="0">
              <a:latin typeface="Arial" charset="0"/>
              <a:cs typeface="Arial" charset="0"/>
            </a:endParaRPr>
          </a:p>
        </p:txBody>
      </p:sp>
      <p:sp>
        <p:nvSpPr>
          <p:cNvPr id="87" name="Pentagon 86"/>
          <p:cNvSpPr/>
          <p:nvPr/>
        </p:nvSpPr>
        <p:spPr>
          <a:xfrm>
            <a:off x="272480" y="4220308"/>
            <a:ext cx="2077118" cy="1143408"/>
          </a:xfrm>
          <a:prstGeom prst="homePlat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smtClean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8" name="Pentagon 87"/>
          <p:cNvSpPr/>
          <p:nvPr/>
        </p:nvSpPr>
        <p:spPr>
          <a:xfrm>
            <a:off x="251371" y="1817353"/>
            <a:ext cx="2077118" cy="679934"/>
          </a:xfrm>
          <a:prstGeom prst="homePlat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smtClean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224911" y="1777662"/>
            <a:ext cx="2063888" cy="7565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1400" b="1" i="1" dirty="0" smtClean="0">
                <a:solidFill>
                  <a:schemeClr val="bg1"/>
                </a:solidFill>
              </a:rPr>
              <a:t>Progress</a:t>
            </a:r>
            <a:r>
              <a:rPr lang="en-US" sz="1400" b="1" dirty="0" smtClean="0">
                <a:solidFill>
                  <a:schemeClr val="bg1"/>
                </a:solidFill>
              </a:rPr>
              <a:t> 225 PSN per </a:t>
            </a:r>
            <a:r>
              <a:rPr lang="en-US" sz="1400" b="1" dirty="0" err="1" smtClean="0">
                <a:solidFill>
                  <a:schemeClr val="bg1"/>
                </a:solidFill>
              </a:rPr>
              <a:t>Februari</a:t>
            </a:r>
            <a:r>
              <a:rPr lang="en-US" sz="1400" b="1" dirty="0" smtClean="0">
                <a:solidFill>
                  <a:schemeClr val="bg1"/>
                </a:solidFill>
              </a:rPr>
              <a:t> 2016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323999" y="1149106"/>
            <a:ext cx="196533" cy="20355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5323999" y="1547644"/>
            <a:ext cx="196533" cy="2035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5323999" y="2815205"/>
            <a:ext cx="196533" cy="20355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5323999" y="2367225"/>
            <a:ext cx="196533" cy="20355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5323999" y="1958639"/>
            <a:ext cx="196533" cy="20355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98" name="Chart 97"/>
          <p:cNvGraphicFramePr/>
          <p:nvPr>
            <p:extLst/>
          </p:nvPr>
        </p:nvGraphicFramePr>
        <p:xfrm>
          <a:off x="1624068" y="3257430"/>
          <a:ext cx="4038269" cy="300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9" name="Rectangle 98"/>
          <p:cNvSpPr/>
          <p:nvPr/>
        </p:nvSpPr>
        <p:spPr>
          <a:xfrm>
            <a:off x="5316595" y="5160157"/>
            <a:ext cx="196533" cy="203559"/>
          </a:xfrm>
          <a:prstGeom prst="rect">
            <a:avLst/>
          </a:prstGeom>
          <a:solidFill>
            <a:srgbClr val="5D9D5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5316595" y="4536049"/>
            <a:ext cx="196533" cy="203559"/>
          </a:xfrm>
          <a:prstGeom prst="rect">
            <a:avLst/>
          </a:prstGeom>
          <a:solidFill>
            <a:srgbClr val="F8882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5316595" y="3745347"/>
            <a:ext cx="196533" cy="203559"/>
          </a:xfrm>
          <a:prstGeom prst="rect">
            <a:avLst/>
          </a:prstGeom>
          <a:solidFill>
            <a:srgbClr val="FAEB8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5316595" y="4126017"/>
            <a:ext cx="196533" cy="203559"/>
          </a:xfrm>
          <a:prstGeom prst="rect">
            <a:avLst/>
          </a:prstGeom>
          <a:solidFill>
            <a:srgbClr val="16618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5316595" y="5583085"/>
            <a:ext cx="196533" cy="203559"/>
          </a:xfrm>
          <a:prstGeom prst="rect">
            <a:avLst/>
          </a:prstGeom>
          <a:solidFill>
            <a:srgbClr val="3FC2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6311"/>
            <a:endParaRPr lang="en-US" sz="2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234452" y="1711512"/>
            <a:ext cx="81750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225</a:t>
            </a:r>
            <a:endParaRPr lang="en-US" sz="2400" b="1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PSN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3281565" y="4359134"/>
            <a:ext cx="7232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35</a:t>
            </a:r>
          </a:p>
          <a:p>
            <a:pPr algn="ctr"/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GW</a:t>
            </a:r>
            <a:endParaRPr lang="en-US" sz="2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116" name="Straight Connector 115"/>
          <p:cNvCxnSpPr/>
          <p:nvPr/>
        </p:nvCxnSpPr>
        <p:spPr>
          <a:xfrm>
            <a:off x="251371" y="3413289"/>
            <a:ext cx="9321254" cy="0"/>
          </a:xfrm>
          <a:prstGeom prst="line">
            <a:avLst/>
          </a:prstGeom>
          <a:ln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224911" y="4413064"/>
            <a:ext cx="18070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FFFF"/>
                </a:solidFill>
              </a:rPr>
              <a:t>Progress Program </a:t>
            </a:r>
            <a:r>
              <a:rPr lang="en-US" sz="1400" b="1" dirty="0" err="1" smtClean="0">
                <a:solidFill>
                  <a:srgbClr val="FFFFFF"/>
                </a:solidFill>
              </a:rPr>
              <a:t>Kelistrikan</a:t>
            </a:r>
            <a:r>
              <a:rPr lang="en-US" sz="1400" b="1" dirty="0" smtClean="0">
                <a:solidFill>
                  <a:srgbClr val="FFFFFF"/>
                </a:solidFill>
              </a:rPr>
              <a:t> 35 GW per </a:t>
            </a:r>
            <a:r>
              <a:rPr lang="en-US" sz="1400" b="1" dirty="0" err="1" smtClean="0">
                <a:solidFill>
                  <a:srgbClr val="FFFFFF"/>
                </a:solidFill>
              </a:rPr>
              <a:t>Desember</a:t>
            </a:r>
            <a:r>
              <a:rPr lang="en-US" sz="1400" b="1" dirty="0" smtClean="0">
                <a:solidFill>
                  <a:srgbClr val="FFFFFF"/>
                </a:solidFill>
              </a:rPr>
              <a:t> 2016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224911" y="5635618"/>
            <a:ext cx="33236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 smtClean="0"/>
              <a:t>Sumber</a:t>
            </a:r>
            <a:r>
              <a:rPr lang="en-US" sz="1100" dirty="0" smtClean="0"/>
              <a:t>: PLN Jan 2017</a:t>
            </a:r>
            <a:endParaRPr lang="en-US" sz="1100" dirty="0"/>
          </a:p>
        </p:txBody>
      </p:sp>
      <p:sp>
        <p:nvSpPr>
          <p:cNvPr id="119" name="TextBox 118"/>
          <p:cNvSpPr txBox="1"/>
          <p:nvPr/>
        </p:nvSpPr>
        <p:spPr>
          <a:xfrm>
            <a:off x="221274" y="2950598"/>
            <a:ext cx="33236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 smtClean="0"/>
              <a:t>Sumber</a:t>
            </a:r>
            <a:r>
              <a:rPr lang="en-US" sz="1100" dirty="0" smtClean="0"/>
              <a:t>: KPPIP Feb 2017</a:t>
            </a:r>
            <a:endParaRPr lang="en-US" sz="1100" dirty="0"/>
          </a:p>
        </p:txBody>
      </p:sp>
      <p:sp>
        <p:nvSpPr>
          <p:cNvPr id="37" name="TextBox 36"/>
          <p:cNvSpPr txBox="1"/>
          <p:nvPr/>
        </p:nvSpPr>
        <p:spPr>
          <a:xfrm>
            <a:off x="805625" y="6495045"/>
            <a:ext cx="8733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aseline="30000" dirty="0"/>
              <a:t>2</a:t>
            </a:r>
            <a:r>
              <a:rPr lang="en-US" sz="1200" dirty="0" smtClean="0"/>
              <a:t>Termasuk PLTU Kalsel-1 yang </a:t>
            </a:r>
            <a:r>
              <a:rPr lang="en-US" sz="1200" dirty="0" err="1" smtClean="0"/>
              <a:t>mencapai</a:t>
            </a:r>
            <a:r>
              <a:rPr lang="en-US" sz="1200" dirty="0" smtClean="0"/>
              <a:t> </a:t>
            </a:r>
            <a:r>
              <a:rPr lang="en-US" sz="1200" i="1" dirty="0" smtClean="0"/>
              <a:t>Financial Close</a:t>
            </a:r>
            <a:r>
              <a:rPr lang="en-US" sz="1200" dirty="0" smtClean="0"/>
              <a:t> </a:t>
            </a:r>
            <a:r>
              <a:rPr lang="en-US" sz="1200" dirty="0" err="1" smtClean="0"/>
              <a:t>pada</a:t>
            </a:r>
            <a:r>
              <a:rPr lang="en-US" sz="1200" dirty="0" smtClean="0"/>
              <a:t> </a:t>
            </a:r>
            <a:r>
              <a:rPr lang="en-US" sz="1200" dirty="0" err="1" smtClean="0"/>
              <a:t>Januari</a:t>
            </a:r>
            <a:r>
              <a:rPr lang="en-US" sz="1200" dirty="0" smtClean="0"/>
              <a:t> 2017</a:t>
            </a:r>
            <a:endParaRPr lang="en-US" sz="1200" dirty="0"/>
          </a:p>
        </p:txBody>
      </p:sp>
      <p:sp>
        <p:nvSpPr>
          <p:cNvPr id="38" name="TextBox 37"/>
          <p:cNvSpPr txBox="1"/>
          <p:nvPr/>
        </p:nvSpPr>
        <p:spPr>
          <a:xfrm>
            <a:off x="802569" y="6112645"/>
            <a:ext cx="87335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aseline="30000" dirty="0" smtClean="0"/>
              <a:t>1</a:t>
            </a:r>
            <a:r>
              <a:rPr lang="en-US" sz="1200" dirty="0" smtClean="0"/>
              <a:t>Proyek </a:t>
            </a:r>
            <a:r>
              <a:rPr lang="en-US" sz="1200" dirty="0" err="1" smtClean="0"/>
              <a:t>dikeluarkan</a:t>
            </a:r>
            <a:r>
              <a:rPr lang="en-US" sz="1200" dirty="0" smtClean="0"/>
              <a:t> </a:t>
            </a:r>
            <a:r>
              <a:rPr lang="en-US" sz="1200" dirty="0" err="1" smtClean="0"/>
              <a:t>karena</a:t>
            </a:r>
            <a:r>
              <a:rPr lang="en-US" sz="1200" dirty="0" smtClean="0"/>
              <a:t> </a:t>
            </a:r>
            <a:r>
              <a:rPr lang="en-US" sz="1200" dirty="0" err="1" smtClean="0"/>
              <a:t>tidak</a:t>
            </a:r>
            <a:r>
              <a:rPr lang="en-US" sz="1200" dirty="0" smtClean="0"/>
              <a:t> </a:t>
            </a:r>
            <a:r>
              <a:rPr lang="en-US" sz="1200" dirty="0" err="1" smtClean="0"/>
              <a:t>memenuhi</a:t>
            </a:r>
            <a:r>
              <a:rPr lang="en-US" sz="1200" dirty="0" smtClean="0"/>
              <a:t> </a:t>
            </a:r>
            <a:r>
              <a:rPr lang="en-US" sz="1200" dirty="0" err="1" smtClean="0"/>
              <a:t>kriteria-kriteria</a:t>
            </a:r>
            <a:r>
              <a:rPr lang="en-US" sz="1200" dirty="0" smtClean="0"/>
              <a:t> PSN </a:t>
            </a:r>
            <a:r>
              <a:rPr lang="en-US" sz="1200" dirty="0" err="1" smtClean="0"/>
              <a:t>seperti</a:t>
            </a:r>
            <a:r>
              <a:rPr lang="en-US" sz="1200" dirty="0" smtClean="0"/>
              <a:t>: </a:t>
            </a:r>
            <a:r>
              <a:rPr lang="en-US" sz="1200" dirty="0" err="1" smtClean="0"/>
              <a:t>adanya</a:t>
            </a:r>
            <a:r>
              <a:rPr lang="en-US" sz="1200" dirty="0" smtClean="0"/>
              <a:t> champion yang </a:t>
            </a:r>
            <a:r>
              <a:rPr lang="en-US" sz="1200" dirty="0" err="1" smtClean="0"/>
              <a:t>jelas</a:t>
            </a:r>
            <a:r>
              <a:rPr lang="en-US" sz="1200" dirty="0" smtClean="0"/>
              <a:t> </a:t>
            </a:r>
            <a:r>
              <a:rPr lang="en-US" sz="1200" dirty="0" err="1" smtClean="0"/>
              <a:t>atas</a:t>
            </a:r>
            <a:r>
              <a:rPr lang="en-US" sz="1200" dirty="0" smtClean="0"/>
              <a:t> </a:t>
            </a:r>
            <a:r>
              <a:rPr lang="en-US" sz="1200" dirty="0" err="1" smtClean="0"/>
              <a:t>proyek</a:t>
            </a:r>
            <a:r>
              <a:rPr lang="en-US" sz="1200" dirty="0" smtClean="0"/>
              <a:t>; </a:t>
            </a:r>
            <a:r>
              <a:rPr lang="en-US" sz="1200" i="1" dirty="0" smtClean="0"/>
              <a:t>groundbreaking 2018; </a:t>
            </a:r>
            <a:r>
              <a:rPr lang="en-US" sz="1200" dirty="0" err="1" smtClean="0"/>
              <a:t>nilai</a:t>
            </a:r>
            <a:r>
              <a:rPr lang="en-US" sz="1200" dirty="0" smtClean="0"/>
              <a:t> </a:t>
            </a:r>
            <a:r>
              <a:rPr lang="en-US" sz="1200" dirty="0" err="1" smtClean="0"/>
              <a:t>proyek</a:t>
            </a:r>
            <a:r>
              <a:rPr lang="en-US" sz="1200" dirty="0" smtClean="0"/>
              <a:t> </a:t>
            </a:r>
            <a:r>
              <a:rPr lang="en-US" sz="1200" dirty="0" err="1" smtClean="0"/>
              <a:t>dibawah</a:t>
            </a:r>
            <a:r>
              <a:rPr lang="en-US" sz="1200" dirty="0" smtClean="0"/>
              <a:t> Rp100 </a:t>
            </a:r>
            <a:r>
              <a:rPr lang="en-US" sz="1200" dirty="0" err="1" smtClean="0"/>
              <a:t>Milyar</a:t>
            </a:r>
            <a:endParaRPr lang="en-US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5630271" y="3597507"/>
            <a:ext cx="39359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706 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MW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sudah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 smtClean="0">
                <a:solidFill>
                  <a:schemeClr val="accent2"/>
                </a:solidFill>
                <a:latin typeface="Arial"/>
                <a:cs typeface="Helvetica Neue Bold Condensed"/>
              </a:rPr>
              <a:t>beroperasi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30269" y="4009537"/>
            <a:ext cx="4106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10.141 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MW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ahap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konstruksi</a:t>
            </a:r>
            <a:r>
              <a:rPr lang="en-US" sz="1600" b="1" baseline="300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2</a:t>
            </a:r>
            <a:endParaRPr lang="en-US" sz="1600" b="1" baseline="30000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630272" y="4419560"/>
            <a:ext cx="427572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8.478 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MW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sudah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selesai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 PPA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namun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belu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i="1" dirty="0">
                <a:solidFill>
                  <a:schemeClr val="accent2"/>
                </a:solidFill>
                <a:latin typeface="Arial"/>
                <a:cs typeface="Helvetica Neue Bold Condensed"/>
              </a:rPr>
              <a:t>financial close</a:t>
            </a:r>
            <a:endParaRPr lang="en-US" sz="1400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630267" y="5045195"/>
            <a:ext cx="4275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10.560 </a:t>
            </a:r>
            <a:r>
              <a:rPr lang="en-US" sz="2000" b="1" dirty="0">
                <a:solidFill>
                  <a:schemeClr val="accent2"/>
                </a:solidFill>
                <a:latin typeface="Arial"/>
                <a:cs typeface="Helvetica Neue Bold Condensed"/>
              </a:rPr>
              <a:t>MW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ahap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 smtClean="0">
                <a:solidFill>
                  <a:schemeClr val="accent2"/>
                </a:solidFill>
                <a:latin typeface="Arial"/>
                <a:cs typeface="Helvetica Neue Bold Condensed"/>
              </a:rPr>
              <a:t>pengadaan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630271" y="5468123"/>
            <a:ext cx="4275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5.824 MW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ahap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erencanaan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4" name="TextBox 43">
            <a:hlinkClick r:id="" action="ppaction://noaction"/>
          </p:cNvPr>
          <p:cNvSpPr txBox="1"/>
          <p:nvPr/>
        </p:nvSpPr>
        <p:spPr>
          <a:xfrm>
            <a:off x="5630267" y="1056584"/>
            <a:ext cx="4106401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lnSpc>
                <a:spcPct val="80000"/>
              </a:lnSpc>
              <a:spcAft>
                <a:spcPts val="120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20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royek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sudah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 smtClean="0">
                <a:solidFill>
                  <a:schemeClr val="accent2"/>
                </a:solidFill>
                <a:latin typeface="Arial"/>
                <a:cs typeface="Helvetica Neue Bold Condensed"/>
              </a:rPr>
              <a:t>selesai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5" name="TextBox 44">
            <a:hlinkClick r:id="" action="ppaction://noaction"/>
          </p:cNvPr>
          <p:cNvSpPr txBox="1"/>
          <p:nvPr/>
        </p:nvSpPr>
        <p:spPr>
          <a:xfrm>
            <a:off x="5630267" y="1424343"/>
            <a:ext cx="39423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94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royek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ahap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 smtClean="0">
                <a:solidFill>
                  <a:schemeClr val="accent2"/>
                </a:solidFill>
                <a:latin typeface="Arial"/>
                <a:cs typeface="Helvetica Neue Bold Condensed"/>
              </a:rPr>
              <a:t>konstruksi</a:t>
            </a: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6" name="TextBox 45">
            <a:hlinkClick r:id="" action="ppaction://noaction"/>
          </p:cNvPr>
          <p:cNvSpPr txBox="1"/>
          <p:nvPr/>
        </p:nvSpPr>
        <p:spPr>
          <a:xfrm>
            <a:off x="5630268" y="1866117"/>
            <a:ext cx="393598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lnSpc>
                <a:spcPct val="80000"/>
              </a:lnSpc>
              <a:spcAft>
                <a:spcPts val="120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13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royek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ahap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transaksi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7" name="TextBox 46">
            <a:hlinkClick r:id="" action="ppaction://noaction"/>
          </p:cNvPr>
          <p:cNvSpPr txBox="1"/>
          <p:nvPr/>
        </p:nvSpPr>
        <p:spPr>
          <a:xfrm>
            <a:off x="5630268" y="2243924"/>
            <a:ext cx="393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82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royek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dalam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enyiapan</a:t>
            </a:r>
            <a:endParaRPr lang="en-US" sz="2000" b="1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sp>
        <p:nvSpPr>
          <p:cNvPr id="48" name="TextBox 47">
            <a:hlinkClick r:id="" action="ppaction://noaction"/>
          </p:cNvPr>
          <p:cNvSpPr txBox="1"/>
          <p:nvPr/>
        </p:nvSpPr>
        <p:spPr>
          <a:xfrm>
            <a:off x="5630267" y="2691904"/>
            <a:ext cx="39423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36311">
              <a:spcAft>
                <a:spcPts val="750"/>
              </a:spcAft>
            </a:pP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15</a:t>
            </a:r>
            <a:r>
              <a:rPr lang="en-US" sz="14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Helvetica Neue Bold Condensed"/>
              </a:rPr>
              <a:t>proyek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Helvetica Neue Bold Condensed"/>
              </a:rPr>
              <a:t> </a:t>
            </a:r>
            <a:r>
              <a:rPr lang="en-US" sz="2000" b="1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dikeluarkan</a:t>
            </a:r>
            <a:r>
              <a:rPr lang="en-US" sz="2000" b="1" baseline="30000" dirty="0" smtClean="0">
                <a:solidFill>
                  <a:schemeClr val="accent2"/>
                </a:solidFill>
                <a:latin typeface="Arial"/>
                <a:cs typeface="Helvetica Neue Bold Condensed"/>
              </a:rPr>
              <a:t>1</a:t>
            </a:r>
            <a:endParaRPr lang="en-US" sz="2000" b="1" baseline="30000" dirty="0">
              <a:solidFill>
                <a:schemeClr val="accent2"/>
              </a:solidFill>
              <a:latin typeface="Arial"/>
              <a:cs typeface="Helvetica Neue Bold Condensed"/>
            </a:endParaRPr>
          </a:p>
        </p:txBody>
      </p:sp>
      <p:graphicFrame>
        <p:nvGraphicFramePr>
          <p:cNvPr id="50" name="Chart 49"/>
          <p:cNvGraphicFramePr/>
          <p:nvPr>
            <p:extLst/>
          </p:nvPr>
        </p:nvGraphicFramePr>
        <p:xfrm>
          <a:off x="2171381" y="612906"/>
          <a:ext cx="2939844" cy="3048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306658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495300" y="53624"/>
            <a:ext cx="9077198" cy="723861"/>
          </a:xfrm>
          <a:prstGeom prst="rect">
            <a:avLst/>
          </a:prstGeom>
        </p:spPr>
        <p:txBody>
          <a:bodyPr vert="horz" wrap="square" lIns="107263" tIns="53630" rIns="107263" bIns="53630" rtlCol="0" anchor="ctr">
            <a:spAutoFit/>
          </a:bodyPr>
          <a:lstStyle>
            <a:lvl1pPr algn="l" defTabSz="536311" rtl="0" eaLnBrk="1" latinLnBrk="0" hangingPunct="1">
              <a:spcBef>
                <a:spcPct val="0"/>
              </a:spcBef>
              <a:buNone/>
              <a:defRPr lang="en-US" sz="2800" b="1" kern="1200" smtClean="0">
                <a:solidFill>
                  <a:schemeClr val="accent6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dirty="0" err="1" smtClean="0"/>
              <a:t>Hasil</a:t>
            </a:r>
            <a:r>
              <a:rPr lang="en-US" sz="2000" dirty="0" smtClean="0"/>
              <a:t> </a:t>
            </a:r>
            <a:r>
              <a:rPr lang="en-US" sz="2000" dirty="0" err="1" smtClean="0"/>
              <a:t>evaluasi</a:t>
            </a:r>
            <a:r>
              <a:rPr lang="en-US" sz="2000" dirty="0"/>
              <a:t> </a:t>
            </a:r>
            <a:r>
              <a:rPr lang="en-US" sz="2000" dirty="0" smtClean="0"/>
              <a:t>2016: PSN </a:t>
            </a:r>
            <a:r>
              <a:rPr lang="en-US" sz="2000" dirty="0" err="1" smtClean="0"/>
              <a:t>menjadi</a:t>
            </a:r>
            <a:r>
              <a:rPr lang="en-US" sz="2000" dirty="0" smtClean="0"/>
              <a:t> </a:t>
            </a:r>
            <a:r>
              <a:rPr lang="en-US" sz="2000" dirty="0" err="1" smtClean="0"/>
              <a:t>terdiri</a:t>
            </a:r>
            <a:r>
              <a:rPr lang="en-US" sz="2000" dirty="0" smtClean="0"/>
              <a:t> </a:t>
            </a:r>
            <a:r>
              <a:rPr lang="en-US" sz="2000" dirty="0" err="1" smtClean="0"/>
              <a:t>atas</a:t>
            </a:r>
            <a:r>
              <a:rPr lang="en-US" sz="2000" dirty="0" smtClean="0"/>
              <a:t> </a:t>
            </a:r>
            <a:r>
              <a:rPr lang="en-US" sz="2000" dirty="0"/>
              <a:t>244 PSN </a:t>
            </a:r>
            <a:r>
              <a:rPr lang="en-US" sz="2000" dirty="0" err="1"/>
              <a:t>dan</a:t>
            </a:r>
            <a:r>
              <a:rPr lang="en-US" sz="2000" dirty="0"/>
              <a:t> 2 Program </a:t>
            </a:r>
            <a:r>
              <a:rPr lang="en-US" sz="2000" dirty="0" err="1"/>
              <a:t>dengan</a:t>
            </a:r>
            <a:r>
              <a:rPr lang="en-US" sz="2000" dirty="0"/>
              <a:t> total </a:t>
            </a:r>
            <a:r>
              <a:rPr lang="en-US" sz="2000" dirty="0" err="1"/>
              <a:t>nilai</a:t>
            </a:r>
            <a:r>
              <a:rPr lang="en-US" sz="2000" dirty="0"/>
              <a:t> </a:t>
            </a:r>
            <a:r>
              <a:rPr lang="en-US" sz="2000" dirty="0" err="1"/>
              <a:t>investasi</a:t>
            </a:r>
            <a:r>
              <a:rPr lang="en-US" sz="2000" dirty="0"/>
              <a:t> </a:t>
            </a:r>
            <a:r>
              <a:rPr lang="en-US" sz="2000" dirty="0" err="1"/>
              <a:t>sebesar</a:t>
            </a:r>
            <a:r>
              <a:rPr lang="en-US" sz="2000" dirty="0"/>
              <a:t> Rp4.047 </a:t>
            </a:r>
            <a:r>
              <a:rPr lang="en-US" sz="2000" dirty="0" err="1"/>
              <a:t>Triliun</a:t>
            </a:r>
            <a:endParaRPr lang="en-US" sz="2000" dirty="0"/>
          </a:p>
        </p:txBody>
      </p:sp>
      <p:sp>
        <p:nvSpPr>
          <p:cNvPr id="95" name="Slide Number Placeholder 3"/>
          <p:cNvSpPr txBox="1">
            <a:spLocks/>
          </p:cNvSpPr>
          <p:nvPr/>
        </p:nvSpPr>
        <p:spPr>
          <a:xfrm>
            <a:off x="9613712" y="6507888"/>
            <a:ext cx="418974" cy="22713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311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2621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8932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5243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1554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7864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54175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90486" algn="l" defTabSz="536311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46D494-7267-194E-A2F6-517973E63D58}" type="slidenum">
              <a:rPr lang="en-US" sz="1000"/>
              <a:pPr/>
              <a:t>16</a:t>
            </a:fld>
            <a:endParaRPr lang="en-US" sz="1000" dirty="0"/>
          </a:p>
        </p:txBody>
      </p:sp>
      <p:grpSp>
        <p:nvGrpSpPr>
          <p:cNvPr id="96" name="Group 92"/>
          <p:cNvGrpSpPr/>
          <p:nvPr/>
        </p:nvGrpSpPr>
        <p:grpSpPr>
          <a:xfrm>
            <a:off x="464153" y="485756"/>
            <a:ext cx="9024028" cy="3993968"/>
            <a:chOff x="59986" y="1041008"/>
            <a:chExt cx="9024028" cy="3993968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986" y="1041008"/>
              <a:ext cx="9024028" cy="3993968"/>
            </a:xfrm>
            <a:prstGeom prst="rect">
              <a:avLst/>
            </a:prstGeom>
          </p:spPr>
        </p:pic>
        <p:sp>
          <p:nvSpPr>
            <p:cNvPr id="98" name="Rectangle 97"/>
            <p:cNvSpPr/>
            <p:nvPr/>
          </p:nvSpPr>
          <p:spPr>
            <a:xfrm>
              <a:off x="4195283" y="3476173"/>
              <a:ext cx="302635" cy="307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5216036" y="4033483"/>
              <a:ext cx="187914" cy="1436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2854409" y="3372609"/>
              <a:ext cx="187914" cy="1436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371379" y="1807202"/>
              <a:ext cx="187914" cy="1436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3539311" y="1832261"/>
              <a:ext cx="187914" cy="1436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5444125" y="1631975"/>
              <a:ext cx="187914" cy="1579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6822034" y="1871508"/>
              <a:ext cx="187914" cy="1436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300601" y="1713474"/>
              <a:ext cx="3686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61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460828" y="1741378"/>
              <a:ext cx="3558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24</a:t>
              </a:r>
              <a:endParaRPr lang="en-US" sz="1200" b="1" dirty="0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379445" y="1560768"/>
              <a:ext cx="3558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25</a:t>
              </a:r>
              <a:endParaRPr lang="en-US" sz="1200" b="1" dirty="0"/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6729636" y="1778379"/>
              <a:ext cx="3558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13</a:t>
              </a:r>
              <a:endParaRPr lang="en-US" sz="1200" b="1" dirty="0"/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5122442" y="3945860"/>
              <a:ext cx="3558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15</a:t>
              </a:r>
              <a:endParaRPr lang="en-US" sz="1200" b="1" dirty="0"/>
            </a:p>
          </p:txBody>
        </p:sp>
        <p:grpSp>
          <p:nvGrpSpPr>
            <p:cNvPr id="110" name="Group 86"/>
            <p:cNvGrpSpPr/>
            <p:nvPr/>
          </p:nvGrpSpPr>
          <p:grpSpPr>
            <a:xfrm>
              <a:off x="5563877" y="3450344"/>
              <a:ext cx="1496466" cy="396000"/>
              <a:chOff x="5493712" y="3409814"/>
              <a:chExt cx="1496466" cy="396000"/>
            </a:xfrm>
          </p:grpSpPr>
          <p:sp>
            <p:nvSpPr>
              <p:cNvPr id="116" name="Pentagon 115"/>
              <p:cNvSpPr/>
              <p:nvPr/>
            </p:nvSpPr>
            <p:spPr>
              <a:xfrm>
                <a:off x="6145139" y="3483870"/>
                <a:ext cx="845039" cy="243726"/>
              </a:xfrm>
              <a:prstGeom prst="homePlat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Pentagon 116"/>
              <p:cNvSpPr/>
              <p:nvPr/>
            </p:nvSpPr>
            <p:spPr>
              <a:xfrm rot="10800000">
                <a:off x="5493712" y="3483870"/>
                <a:ext cx="845039" cy="243726"/>
              </a:xfrm>
              <a:prstGeom prst="homePlat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Rounded Rectangle 117"/>
              <p:cNvSpPr/>
              <p:nvPr/>
            </p:nvSpPr>
            <p:spPr>
              <a:xfrm>
                <a:off x="6119720" y="3409814"/>
                <a:ext cx="396000" cy="396000"/>
              </a:xfrm>
              <a:prstGeom prst="roundRect">
                <a:avLst/>
              </a:prstGeom>
              <a:solidFill>
                <a:srgbClr val="E46C0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Rounded Rectangle 118"/>
              <p:cNvSpPr/>
              <p:nvPr/>
            </p:nvSpPr>
            <p:spPr>
              <a:xfrm>
                <a:off x="6153004" y="3443264"/>
                <a:ext cx="327273" cy="327273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1" name="TextBox 110"/>
            <p:cNvSpPr txBox="1"/>
            <p:nvPr/>
          </p:nvSpPr>
          <p:spPr>
            <a:xfrm>
              <a:off x="5649543" y="3475702"/>
              <a:ext cx="5739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</a:rPr>
                <a:t>Indonesia</a:t>
              </a:r>
            </a:p>
            <a:p>
              <a:pPr algn="ctr"/>
              <a:r>
                <a:rPr lang="en-US" sz="700" dirty="0" err="1" smtClean="0">
                  <a:solidFill>
                    <a:schemeClr val="bg1"/>
                  </a:solidFill>
                </a:rPr>
                <a:t>Timur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6561013" y="3534811"/>
              <a:ext cx="46679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700" dirty="0" err="1" smtClean="0">
                  <a:solidFill>
                    <a:schemeClr val="bg1"/>
                  </a:solidFill>
                </a:rPr>
                <a:t>Proyek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6256004" y="3505212"/>
              <a:ext cx="2640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2</a:t>
              </a: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4555491" y="3524401"/>
              <a:ext cx="515818" cy="210466"/>
            </a:xfrm>
            <a:prstGeom prst="rect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4612913" y="3523995"/>
              <a:ext cx="46679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700" dirty="0" err="1" smtClean="0">
                  <a:solidFill>
                    <a:schemeClr val="bg1"/>
                  </a:solidFill>
                </a:rPr>
                <a:t>Proyek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20" name="Picture 119" descr="Backgroun Presentasi kppip 2-0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67" y="4312331"/>
            <a:ext cx="9144000" cy="301495"/>
          </a:xfrm>
          <a:prstGeom prst="rect">
            <a:avLst/>
          </a:prstGeom>
        </p:spPr>
      </p:pic>
      <p:sp>
        <p:nvSpPr>
          <p:cNvPr id="121" name="TextBox 18"/>
          <p:cNvSpPr txBox="1">
            <a:spLocks noChangeArrowheads="1"/>
          </p:cNvSpPr>
          <p:nvPr/>
        </p:nvSpPr>
        <p:spPr bwMode="auto">
          <a:xfrm>
            <a:off x="2297403" y="4269085"/>
            <a:ext cx="53509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Proyek</a:t>
            </a: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mencakup</a:t>
            </a: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13 </a:t>
            </a: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sektor</a:t>
            </a: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proyek</a:t>
            </a: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serta</a:t>
            </a: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 2 program</a:t>
            </a:r>
            <a:endParaRPr lang="en-US" sz="1600" b="1" dirty="0">
              <a:solidFill>
                <a:schemeClr val="bg1"/>
              </a:solidFill>
              <a:latin typeface="Helvetica" panose="020B0604020202020204" pitchFamily="34" charset="0"/>
              <a:ea typeface="Arial" charset="0"/>
              <a:cs typeface="Helvetica" panose="020B0604020202020204" pitchFamily="34" charset="0"/>
            </a:endParaRP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2828" y="4640085"/>
            <a:ext cx="1288556" cy="1418167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1780" y="4659293"/>
            <a:ext cx="652259" cy="1418167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9329" y="4640085"/>
            <a:ext cx="617945" cy="1418167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34"/>
          <a:stretch/>
        </p:blipFill>
        <p:spPr>
          <a:xfrm>
            <a:off x="2711384" y="4640085"/>
            <a:ext cx="617945" cy="1418167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7754" y="4644808"/>
            <a:ext cx="619402" cy="1418167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7156" y="4652159"/>
            <a:ext cx="619402" cy="1418167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0997" y="4651757"/>
            <a:ext cx="619402" cy="1418167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0"/>
          <a:stretch/>
        </p:blipFill>
        <p:spPr>
          <a:xfrm>
            <a:off x="5780399" y="4651757"/>
            <a:ext cx="593583" cy="1418167"/>
          </a:xfrm>
          <a:prstGeom prst="rect">
            <a:avLst/>
          </a:prstGeom>
        </p:spPr>
      </p:pic>
      <p:grpSp>
        <p:nvGrpSpPr>
          <p:cNvPr id="130" name="Group 14"/>
          <p:cNvGrpSpPr/>
          <p:nvPr/>
        </p:nvGrpSpPr>
        <p:grpSpPr>
          <a:xfrm>
            <a:off x="5812218" y="4655334"/>
            <a:ext cx="1888484" cy="1418167"/>
            <a:chOff x="4407275" y="5163905"/>
            <a:chExt cx="1888484" cy="1418167"/>
          </a:xfrm>
        </p:grpSpPr>
        <p:grpSp>
          <p:nvGrpSpPr>
            <p:cNvPr id="131" name="Group 2"/>
            <p:cNvGrpSpPr/>
            <p:nvPr/>
          </p:nvGrpSpPr>
          <p:grpSpPr>
            <a:xfrm>
              <a:off x="5582347" y="5163905"/>
              <a:ext cx="612588" cy="1418167"/>
              <a:chOff x="3561528" y="5264480"/>
              <a:chExt cx="612588" cy="1418167"/>
            </a:xfrm>
          </p:grpSpPr>
          <p:pic>
            <p:nvPicPr>
              <p:cNvPr id="134" name="Picture 133"/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561528" y="5264480"/>
                <a:ext cx="612588" cy="1418167"/>
              </a:xfrm>
              <a:prstGeom prst="rect">
                <a:avLst/>
              </a:prstGeom>
            </p:spPr>
          </p:pic>
          <p:sp>
            <p:nvSpPr>
              <p:cNvPr id="135" name="Rectangle 134"/>
              <p:cNvSpPr/>
              <p:nvPr/>
            </p:nvSpPr>
            <p:spPr>
              <a:xfrm>
                <a:off x="3603382" y="6161187"/>
                <a:ext cx="503485" cy="307869"/>
              </a:xfrm>
              <a:prstGeom prst="rect">
                <a:avLst/>
              </a:prstGeom>
              <a:solidFill>
                <a:srgbClr val="E1E2E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TextBox 135"/>
              <p:cNvSpPr txBox="1"/>
              <p:nvPr/>
            </p:nvSpPr>
            <p:spPr>
              <a:xfrm>
                <a:off x="3694270" y="6060105"/>
                <a:ext cx="355837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400" b="1" dirty="0">
                    <a:solidFill>
                      <a:schemeClr val="bg1">
                        <a:lumMod val="50000"/>
                      </a:schemeClr>
                    </a:solidFill>
                  </a:rPr>
                  <a:t>7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3624132" y="5937184"/>
                <a:ext cx="503485" cy="225536"/>
              </a:xfrm>
              <a:prstGeom prst="rect">
                <a:avLst/>
              </a:prstGeom>
              <a:solidFill>
                <a:srgbClr val="E1E2E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2" name="TextBox 131"/>
            <p:cNvSpPr txBox="1"/>
            <p:nvPr/>
          </p:nvSpPr>
          <p:spPr>
            <a:xfrm>
              <a:off x="5645434" y="5817260"/>
              <a:ext cx="650325" cy="1923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50" dirty="0" smtClean="0">
                  <a:solidFill>
                    <a:schemeClr val="bg1">
                      <a:lumMod val="50000"/>
                    </a:schemeClr>
                  </a:solidFill>
                </a:rPr>
                <a:t>IRIGASI</a:t>
              </a:r>
              <a:endParaRPr lang="en-US" sz="65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4407275" y="5817260"/>
              <a:ext cx="650325" cy="1923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50" dirty="0" smtClean="0">
                  <a:solidFill>
                    <a:schemeClr val="bg1">
                      <a:lumMod val="50000"/>
                    </a:schemeClr>
                  </a:solidFill>
                </a:rPr>
                <a:t>IRIGASI</a:t>
              </a:r>
              <a:endParaRPr lang="en-US" sz="65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138" name="Picture 13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34"/>
          <a:stretch/>
        </p:blipFill>
        <p:spPr>
          <a:xfrm>
            <a:off x="6357062" y="4651757"/>
            <a:ext cx="642928" cy="1418167"/>
          </a:xfrm>
          <a:prstGeom prst="rect">
            <a:avLst/>
          </a:prstGeom>
        </p:spPr>
      </p:pic>
      <p:pic>
        <p:nvPicPr>
          <p:cNvPr id="139" name="Picture 138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5858" y="4651942"/>
            <a:ext cx="620718" cy="1418167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4407" y="4659293"/>
            <a:ext cx="620718" cy="1418167"/>
          </a:xfrm>
          <a:prstGeom prst="rect">
            <a:avLst/>
          </a:prstGeom>
        </p:spPr>
      </p:pic>
      <p:pic>
        <p:nvPicPr>
          <p:cNvPr id="141" name="Picture 140" descr="Backgroun Presentasi kppip 2-02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782"/>
          <a:stretch/>
        </p:blipFill>
        <p:spPr>
          <a:xfrm>
            <a:off x="396158" y="4687141"/>
            <a:ext cx="1026670" cy="1279679"/>
          </a:xfrm>
          <a:prstGeom prst="rect">
            <a:avLst/>
          </a:prstGeom>
        </p:spPr>
      </p:pic>
      <p:pic>
        <p:nvPicPr>
          <p:cNvPr id="142" name="Picture 141" descr="Backgroun Presentasi kppip 2-02.png"/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8751"/>
          <a:stretch/>
        </p:blipFill>
        <p:spPr>
          <a:xfrm>
            <a:off x="393178" y="6019502"/>
            <a:ext cx="1041890" cy="647999"/>
          </a:xfrm>
          <a:prstGeom prst="rect">
            <a:avLst/>
          </a:prstGeom>
        </p:spPr>
      </p:pic>
      <p:sp>
        <p:nvSpPr>
          <p:cNvPr id="143" name="Rounded Rectangle 142"/>
          <p:cNvSpPr/>
          <p:nvPr/>
        </p:nvSpPr>
        <p:spPr>
          <a:xfrm>
            <a:off x="1513395" y="6031935"/>
            <a:ext cx="1815934" cy="535269"/>
          </a:xfrm>
          <a:prstGeom prst="roundRect">
            <a:avLst>
              <a:gd name="adj" fmla="val 15286"/>
            </a:avLst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Rounded Rectangle 143"/>
          <p:cNvSpPr/>
          <p:nvPr/>
        </p:nvSpPr>
        <p:spPr>
          <a:xfrm>
            <a:off x="3362749" y="6031935"/>
            <a:ext cx="1798247" cy="535269"/>
          </a:xfrm>
          <a:prstGeom prst="roundRect">
            <a:avLst>
              <a:gd name="adj" fmla="val 15286"/>
            </a:avLst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TextBox 18"/>
          <p:cNvSpPr txBox="1">
            <a:spLocks noChangeArrowheads="1"/>
          </p:cNvSpPr>
          <p:nvPr/>
        </p:nvSpPr>
        <p:spPr bwMode="auto">
          <a:xfrm>
            <a:off x="469176" y="5053523"/>
            <a:ext cx="869048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Sektor</a:t>
            </a:r>
            <a:endParaRPr lang="en-US" sz="1600" b="1" dirty="0">
              <a:solidFill>
                <a:schemeClr val="bg1"/>
              </a:solidFill>
              <a:latin typeface="Helvetica" panose="020B0604020202020204" pitchFamily="34" charset="0"/>
              <a:ea typeface="Arial" charset="0"/>
              <a:cs typeface="Helvetica" panose="020B0604020202020204" pitchFamily="34" charset="0"/>
            </a:endParaRPr>
          </a:p>
          <a:p>
            <a:pPr algn="ctr" defTabSz="53498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err="1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Proyek</a:t>
            </a:r>
            <a:endParaRPr lang="en-US" sz="1600" b="1" dirty="0">
              <a:solidFill>
                <a:schemeClr val="bg1"/>
              </a:solidFill>
              <a:latin typeface="Helvetica" panose="020B0604020202020204" pitchFamily="34" charset="0"/>
              <a:ea typeface="Arial" charset="0"/>
              <a:cs typeface="Helvetica" panose="020B0604020202020204" pitchFamily="34" charset="0"/>
            </a:endParaRPr>
          </a:p>
        </p:txBody>
      </p:sp>
      <p:sp>
        <p:nvSpPr>
          <p:cNvPr id="146" name="TextBox 18"/>
          <p:cNvSpPr txBox="1">
            <a:spLocks noChangeArrowheads="1"/>
          </p:cNvSpPr>
          <p:nvPr/>
        </p:nvSpPr>
        <p:spPr bwMode="auto">
          <a:xfrm>
            <a:off x="383803" y="6156407"/>
            <a:ext cx="102844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Program</a:t>
            </a:r>
            <a:endParaRPr lang="en-US" sz="1600" b="1" dirty="0">
              <a:solidFill>
                <a:schemeClr val="bg1"/>
              </a:solidFill>
              <a:latin typeface="Helvetica" panose="020B0604020202020204" pitchFamily="34" charset="0"/>
              <a:ea typeface="Arial" charset="0"/>
              <a:cs typeface="Helvetica" panose="020B0604020202020204" pitchFamily="34" charset="0"/>
            </a:endParaRP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 rotWithShape="1">
          <a:blip r:embed="rId16"/>
          <a:srcRect l="93008" t="10389" r="1236" b="54266"/>
          <a:stretch/>
        </p:blipFill>
        <p:spPr>
          <a:xfrm>
            <a:off x="1540300" y="6050080"/>
            <a:ext cx="503642" cy="501249"/>
          </a:xfrm>
          <a:prstGeom prst="rect">
            <a:avLst/>
          </a:prstGeom>
        </p:spPr>
      </p:pic>
      <p:grpSp>
        <p:nvGrpSpPr>
          <p:cNvPr id="148" name="Group 24"/>
          <p:cNvGrpSpPr/>
          <p:nvPr/>
        </p:nvGrpSpPr>
        <p:grpSpPr>
          <a:xfrm>
            <a:off x="3347072" y="5989723"/>
            <a:ext cx="606203" cy="606203"/>
            <a:chOff x="2228075" y="6226980"/>
            <a:chExt cx="606203" cy="606203"/>
          </a:xfrm>
        </p:grpSpPr>
        <p:sp>
          <p:nvSpPr>
            <p:cNvPr id="149" name="Oval 148"/>
            <p:cNvSpPr/>
            <p:nvPr/>
          </p:nvSpPr>
          <p:spPr>
            <a:xfrm>
              <a:off x="2281334" y="6296396"/>
              <a:ext cx="467999" cy="46799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0" name="Picture 149" descr="airplane_u2708_icon_256x256.png"/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8075" y="6226980"/>
              <a:ext cx="606203" cy="606203"/>
            </a:xfrm>
            <a:prstGeom prst="rect">
              <a:avLst/>
            </a:prstGeom>
          </p:spPr>
        </p:pic>
      </p:grpSp>
      <p:sp>
        <p:nvSpPr>
          <p:cNvPr id="151" name="TextBox 150"/>
          <p:cNvSpPr txBox="1"/>
          <p:nvPr/>
        </p:nvSpPr>
        <p:spPr>
          <a:xfrm>
            <a:off x="2035514" y="6205811"/>
            <a:ext cx="510393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</a:rPr>
              <a:t>LISTRIK</a:t>
            </a:r>
            <a:endParaRPr lang="en-US" sz="6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459775" y="6059021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2721419" y="6205811"/>
            <a:ext cx="658949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</a:rPr>
              <a:t>PROGRAM</a:t>
            </a:r>
            <a:endParaRPr lang="en-US" sz="6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816143" y="6176989"/>
            <a:ext cx="6132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</a:rPr>
              <a:t>INDUSTRI</a:t>
            </a:r>
          </a:p>
          <a:p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</a:rPr>
              <a:t>PESAWAT</a:t>
            </a:r>
            <a:endParaRPr lang="en-US" sz="6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4248758" y="607298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4502047" y="6219777"/>
            <a:ext cx="658949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</a:rPr>
              <a:t>PROGRAM</a:t>
            </a:r>
            <a:endParaRPr lang="en-US" sz="6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555663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/>
          <p:cNvSpPr/>
          <p:nvPr/>
        </p:nvSpPr>
        <p:spPr>
          <a:xfrm>
            <a:off x="8939426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/>
          <p:cNvSpPr/>
          <p:nvPr/>
        </p:nvSpPr>
        <p:spPr>
          <a:xfrm>
            <a:off x="8325853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/>
          <p:cNvSpPr/>
          <p:nvPr/>
        </p:nvSpPr>
        <p:spPr>
          <a:xfrm>
            <a:off x="7712282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160"/>
          <p:cNvSpPr/>
          <p:nvPr/>
        </p:nvSpPr>
        <p:spPr>
          <a:xfrm>
            <a:off x="7077802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/>
          <p:cNvSpPr/>
          <p:nvPr/>
        </p:nvSpPr>
        <p:spPr>
          <a:xfrm>
            <a:off x="6464231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Rectangle 162"/>
          <p:cNvSpPr/>
          <p:nvPr/>
        </p:nvSpPr>
        <p:spPr>
          <a:xfrm>
            <a:off x="5850660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/>
        </p:nvSpPr>
        <p:spPr>
          <a:xfrm>
            <a:off x="5237089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/>
        </p:nvSpPr>
        <p:spPr>
          <a:xfrm>
            <a:off x="4623518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/>
        </p:nvSpPr>
        <p:spPr>
          <a:xfrm>
            <a:off x="4009947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/>
        </p:nvSpPr>
        <p:spPr>
          <a:xfrm>
            <a:off x="3396376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/>
        </p:nvSpPr>
        <p:spPr>
          <a:xfrm>
            <a:off x="2782805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/>
        </p:nvSpPr>
        <p:spPr>
          <a:xfrm>
            <a:off x="2169234" y="5539826"/>
            <a:ext cx="503485" cy="307869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TextBox 169"/>
          <p:cNvSpPr txBox="1"/>
          <p:nvPr/>
        </p:nvSpPr>
        <p:spPr>
          <a:xfrm>
            <a:off x="1522675" y="5460520"/>
            <a:ext cx="5270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74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8920020" y="5460520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12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8391314" y="5460520"/>
            <a:ext cx="3558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7776671" y="5460520"/>
            <a:ext cx="3558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4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7139871" y="5460520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7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6439468" y="5460520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55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5910585" y="5460520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9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5296118" y="5460520"/>
            <a:ext cx="3558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681475" y="5460520"/>
            <a:ext cx="3558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3980896" y="5460520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30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3452190" y="5460520"/>
            <a:ext cx="3558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8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2751961" y="5460520"/>
            <a:ext cx="5270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10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2136967" y="5460520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23</a:t>
            </a: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3186573" y="2755532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95</a:t>
            </a:r>
            <a:endParaRPr lang="en-US" sz="1200" b="1" dirty="0"/>
          </a:p>
        </p:txBody>
      </p:sp>
      <p:grpSp>
        <p:nvGrpSpPr>
          <p:cNvPr id="184" name="Group 104"/>
          <p:cNvGrpSpPr/>
          <p:nvPr/>
        </p:nvGrpSpPr>
        <p:grpSpPr>
          <a:xfrm>
            <a:off x="4933424" y="2868094"/>
            <a:ext cx="834217" cy="424026"/>
            <a:chOff x="4529257" y="3419086"/>
            <a:chExt cx="834217" cy="424026"/>
          </a:xfrm>
        </p:grpSpPr>
        <p:sp>
          <p:nvSpPr>
            <p:cNvPr id="185" name="Pentagon 184"/>
            <p:cNvSpPr/>
            <p:nvPr/>
          </p:nvSpPr>
          <p:spPr>
            <a:xfrm>
              <a:off x="4529257" y="3674331"/>
              <a:ext cx="834217" cy="168781"/>
            </a:xfrm>
            <a:prstGeom prst="homePlate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Pentagon 185"/>
            <p:cNvSpPr/>
            <p:nvPr/>
          </p:nvSpPr>
          <p:spPr>
            <a:xfrm>
              <a:off x="4531367" y="3419086"/>
              <a:ext cx="832107" cy="185831"/>
            </a:xfrm>
            <a:prstGeom prst="homePlate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4534952" y="3599976"/>
              <a:ext cx="752491" cy="87055"/>
            </a:xfrm>
            <a:prstGeom prst="rect">
              <a:avLst/>
            </a:prstGeom>
            <a:solidFill>
              <a:srgbClr val="CD6F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Isosceles Triangle 187"/>
            <p:cNvSpPr/>
            <p:nvPr/>
          </p:nvSpPr>
          <p:spPr>
            <a:xfrm rot="16200000">
              <a:off x="5200002" y="3599474"/>
              <a:ext cx="144882" cy="70370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9" name="Rounded Rectangle 188"/>
          <p:cNvSpPr/>
          <p:nvPr/>
        </p:nvSpPr>
        <p:spPr>
          <a:xfrm>
            <a:off x="4543119" y="2814727"/>
            <a:ext cx="396000" cy="527076"/>
          </a:xfrm>
          <a:prstGeom prst="roundRect">
            <a:avLst/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TextBox 189"/>
          <p:cNvSpPr txBox="1"/>
          <p:nvPr/>
        </p:nvSpPr>
        <p:spPr>
          <a:xfrm>
            <a:off x="4566424" y="3053925"/>
            <a:ext cx="355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10</a:t>
            </a:r>
            <a:endParaRPr lang="en-US" sz="1200" b="1" dirty="0"/>
          </a:p>
        </p:txBody>
      </p:sp>
      <p:sp>
        <p:nvSpPr>
          <p:cNvPr id="191" name="TextBox 190"/>
          <p:cNvSpPr txBox="1"/>
          <p:nvPr/>
        </p:nvSpPr>
        <p:spPr>
          <a:xfrm>
            <a:off x="4611141" y="2813343"/>
            <a:ext cx="270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1</a:t>
            </a:r>
            <a:endParaRPr lang="en-US" sz="1200" b="1" dirty="0"/>
          </a:p>
        </p:txBody>
      </p:sp>
      <p:sp>
        <p:nvSpPr>
          <p:cNvPr id="192" name="Pentagon 191"/>
          <p:cNvSpPr/>
          <p:nvPr/>
        </p:nvSpPr>
        <p:spPr>
          <a:xfrm>
            <a:off x="4547156" y="2981182"/>
            <a:ext cx="106660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Pentagon 192"/>
          <p:cNvSpPr/>
          <p:nvPr/>
        </p:nvSpPr>
        <p:spPr>
          <a:xfrm flipH="1">
            <a:off x="4844509" y="2973790"/>
            <a:ext cx="94610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ounded Rectangle 193"/>
          <p:cNvSpPr/>
          <p:nvPr/>
        </p:nvSpPr>
        <p:spPr>
          <a:xfrm>
            <a:off x="4576403" y="2837771"/>
            <a:ext cx="327273" cy="479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TextBox 194"/>
          <p:cNvSpPr txBox="1"/>
          <p:nvPr/>
        </p:nvSpPr>
        <p:spPr>
          <a:xfrm>
            <a:off x="4611580" y="305392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9</a:t>
            </a:r>
            <a:endParaRPr lang="en-US" sz="1200" b="1" dirty="0"/>
          </a:p>
        </p:txBody>
      </p:sp>
      <p:sp>
        <p:nvSpPr>
          <p:cNvPr id="196" name="TextBox 195"/>
          <p:cNvSpPr txBox="1"/>
          <p:nvPr/>
        </p:nvSpPr>
        <p:spPr>
          <a:xfrm>
            <a:off x="4611141" y="2813343"/>
            <a:ext cx="270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2</a:t>
            </a:r>
          </a:p>
        </p:txBody>
      </p:sp>
      <p:sp>
        <p:nvSpPr>
          <p:cNvPr id="197" name="Pentagon 196"/>
          <p:cNvSpPr/>
          <p:nvPr/>
        </p:nvSpPr>
        <p:spPr>
          <a:xfrm>
            <a:off x="4547156" y="2990015"/>
            <a:ext cx="106660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Pentagon 197"/>
          <p:cNvSpPr/>
          <p:nvPr/>
        </p:nvSpPr>
        <p:spPr>
          <a:xfrm flipH="1">
            <a:off x="4844509" y="2982623"/>
            <a:ext cx="94610" cy="204650"/>
          </a:xfrm>
          <a:prstGeom prst="homePlate">
            <a:avLst>
              <a:gd name="adj" fmla="val 10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Rectangle 198"/>
          <p:cNvSpPr/>
          <p:nvPr/>
        </p:nvSpPr>
        <p:spPr>
          <a:xfrm>
            <a:off x="4593488" y="3068422"/>
            <a:ext cx="327273" cy="45719"/>
          </a:xfrm>
          <a:prstGeom prst="rect">
            <a:avLst/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TextBox 199"/>
          <p:cNvSpPr txBox="1"/>
          <p:nvPr/>
        </p:nvSpPr>
        <p:spPr>
          <a:xfrm>
            <a:off x="4897543" y="3069733"/>
            <a:ext cx="46679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00" dirty="0" err="1" smtClean="0">
                <a:solidFill>
                  <a:schemeClr val="bg1"/>
                </a:solidFill>
              </a:rPr>
              <a:t>Proyek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4880664" y="2857041"/>
            <a:ext cx="530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00" dirty="0" smtClean="0">
                <a:solidFill>
                  <a:schemeClr val="bg1"/>
                </a:solidFill>
              </a:rPr>
              <a:t>Program</a:t>
            </a:r>
          </a:p>
        </p:txBody>
      </p:sp>
      <p:sp>
        <p:nvSpPr>
          <p:cNvPr id="202" name="Rounded Rectangle 201"/>
          <p:cNvSpPr/>
          <p:nvPr/>
        </p:nvSpPr>
        <p:spPr>
          <a:xfrm>
            <a:off x="1495662" y="1882549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38B6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Rounded Rectangle 202"/>
          <p:cNvSpPr/>
          <p:nvPr/>
        </p:nvSpPr>
        <p:spPr>
          <a:xfrm>
            <a:off x="1532007" y="1910695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TextBox 203"/>
          <p:cNvSpPr txBox="1"/>
          <p:nvPr/>
        </p:nvSpPr>
        <p:spPr>
          <a:xfrm>
            <a:off x="1525546" y="1853353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58</a:t>
            </a:r>
            <a:r>
              <a:rPr lang="id-ID" sz="1000" smtClean="0"/>
              <a:t>8</a:t>
            </a:r>
            <a:r>
              <a:rPr lang="en-US" sz="1000" smtClean="0"/>
              <a:t> </a:t>
            </a:r>
            <a:r>
              <a:rPr lang="en-US" sz="1000" dirty="0" smtClean="0"/>
              <a:t>T</a:t>
            </a:r>
            <a:endParaRPr lang="en-US" sz="1000" dirty="0"/>
          </a:p>
        </p:txBody>
      </p:sp>
      <p:sp>
        <p:nvSpPr>
          <p:cNvPr id="205" name="Rounded Rectangle 204"/>
          <p:cNvSpPr/>
          <p:nvPr/>
        </p:nvSpPr>
        <p:spPr>
          <a:xfrm>
            <a:off x="3678779" y="1852919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1B416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Rounded Rectangle 205"/>
          <p:cNvSpPr/>
          <p:nvPr/>
        </p:nvSpPr>
        <p:spPr>
          <a:xfrm>
            <a:off x="3715124" y="1881065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" name="Rounded Rectangle 206"/>
          <p:cNvSpPr/>
          <p:nvPr/>
        </p:nvSpPr>
        <p:spPr>
          <a:xfrm>
            <a:off x="5584174" y="1721300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AE4A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" name="Rounded Rectangle 207"/>
          <p:cNvSpPr/>
          <p:nvPr/>
        </p:nvSpPr>
        <p:spPr>
          <a:xfrm>
            <a:off x="5620519" y="1749446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Rounded Rectangle 208"/>
          <p:cNvSpPr/>
          <p:nvPr/>
        </p:nvSpPr>
        <p:spPr>
          <a:xfrm>
            <a:off x="7006574" y="1949729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1D7E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Rounded Rectangle 209"/>
          <p:cNvSpPr/>
          <p:nvPr/>
        </p:nvSpPr>
        <p:spPr>
          <a:xfrm>
            <a:off x="7042919" y="1977875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ounded Rectangle 210"/>
          <p:cNvSpPr/>
          <p:nvPr/>
        </p:nvSpPr>
        <p:spPr>
          <a:xfrm>
            <a:off x="5375234" y="4091624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577C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ounded Rectangle 211"/>
          <p:cNvSpPr/>
          <p:nvPr/>
        </p:nvSpPr>
        <p:spPr>
          <a:xfrm>
            <a:off x="5411579" y="4119770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ounded Rectangle 212"/>
          <p:cNvSpPr/>
          <p:nvPr/>
        </p:nvSpPr>
        <p:spPr>
          <a:xfrm>
            <a:off x="4376475" y="3314881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CD6F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Rounded Rectangle 213"/>
          <p:cNvSpPr/>
          <p:nvPr/>
        </p:nvSpPr>
        <p:spPr>
          <a:xfrm>
            <a:off x="4412820" y="3343027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5" name="Rounded Rectangle 214"/>
          <p:cNvSpPr/>
          <p:nvPr/>
        </p:nvSpPr>
        <p:spPr>
          <a:xfrm>
            <a:off x="2988937" y="3435509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C478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Rounded Rectangle 215"/>
          <p:cNvSpPr/>
          <p:nvPr/>
        </p:nvSpPr>
        <p:spPr>
          <a:xfrm>
            <a:off x="3025282" y="3463655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TextBox 216"/>
          <p:cNvSpPr txBox="1"/>
          <p:nvPr/>
        </p:nvSpPr>
        <p:spPr>
          <a:xfrm>
            <a:off x="3706799" y="1821255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</a:t>
            </a:r>
            <a:r>
              <a:rPr lang="id-ID" sz="1000" smtClean="0"/>
              <a:t>572</a:t>
            </a:r>
            <a:r>
              <a:rPr lang="en-US" sz="1000" smtClean="0"/>
              <a:t> </a:t>
            </a:r>
            <a:r>
              <a:rPr lang="en-US" sz="1000" dirty="0" smtClean="0"/>
              <a:t>T</a:t>
            </a:r>
            <a:endParaRPr lang="en-US" sz="1000" dirty="0"/>
          </a:p>
        </p:txBody>
      </p:sp>
      <p:sp>
        <p:nvSpPr>
          <p:cNvPr id="218" name="TextBox 217"/>
          <p:cNvSpPr txBox="1"/>
          <p:nvPr/>
        </p:nvSpPr>
        <p:spPr>
          <a:xfrm>
            <a:off x="5616749" y="1689313"/>
            <a:ext cx="6719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169 T</a:t>
            </a:r>
            <a:endParaRPr lang="en-US" sz="1000" dirty="0"/>
          </a:p>
        </p:txBody>
      </p:sp>
      <p:sp>
        <p:nvSpPr>
          <p:cNvPr id="219" name="TextBox 218"/>
          <p:cNvSpPr txBox="1"/>
          <p:nvPr/>
        </p:nvSpPr>
        <p:spPr>
          <a:xfrm>
            <a:off x="7051138" y="1923691"/>
            <a:ext cx="6383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</a:t>
            </a:r>
            <a:r>
              <a:rPr lang="id-ID" sz="1000" smtClean="0"/>
              <a:t>441</a:t>
            </a:r>
            <a:r>
              <a:rPr lang="en-US" sz="1000" smtClean="0"/>
              <a:t>T</a:t>
            </a:r>
            <a:endParaRPr lang="en-US" sz="1000" dirty="0"/>
          </a:p>
        </p:txBody>
      </p:sp>
      <p:sp>
        <p:nvSpPr>
          <p:cNvPr id="220" name="TextBox 219"/>
          <p:cNvSpPr txBox="1"/>
          <p:nvPr/>
        </p:nvSpPr>
        <p:spPr>
          <a:xfrm>
            <a:off x="4384957" y="3292663"/>
            <a:ext cx="7793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1.2</a:t>
            </a:r>
            <a:r>
              <a:rPr lang="id-ID" sz="1000" smtClean="0"/>
              <a:t>99</a:t>
            </a:r>
            <a:r>
              <a:rPr lang="en-US" sz="1000" smtClean="0"/>
              <a:t> </a:t>
            </a:r>
            <a:r>
              <a:rPr lang="en-US" sz="1000" dirty="0" smtClean="0"/>
              <a:t>T</a:t>
            </a:r>
            <a:endParaRPr lang="en-US" sz="1000" dirty="0"/>
          </a:p>
        </p:txBody>
      </p:sp>
      <p:sp>
        <p:nvSpPr>
          <p:cNvPr id="221" name="TextBox 220"/>
          <p:cNvSpPr txBox="1"/>
          <p:nvPr/>
        </p:nvSpPr>
        <p:spPr>
          <a:xfrm>
            <a:off x="5487898" y="4066110"/>
            <a:ext cx="6030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1</a:t>
            </a:r>
            <a:r>
              <a:rPr lang="id-ID" sz="1000" smtClean="0"/>
              <a:t>1</a:t>
            </a:r>
            <a:r>
              <a:rPr lang="en-US" sz="1000" smtClean="0"/>
              <a:t> </a:t>
            </a:r>
            <a:r>
              <a:rPr lang="en-US" sz="1000" dirty="0" smtClean="0"/>
              <a:t>T</a:t>
            </a:r>
            <a:endParaRPr lang="en-US" sz="1000" dirty="0"/>
          </a:p>
        </p:txBody>
      </p:sp>
      <p:sp>
        <p:nvSpPr>
          <p:cNvPr id="222" name="TextBox 221"/>
          <p:cNvSpPr txBox="1"/>
          <p:nvPr/>
        </p:nvSpPr>
        <p:spPr>
          <a:xfrm>
            <a:off x="2977881" y="3411757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Rp9</a:t>
            </a:r>
            <a:r>
              <a:rPr lang="id-ID" sz="1000" smtClean="0"/>
              <a:t>65</a:t>
            </a:r>
            <a:r>
              <a:rPr lang="en-US" sz="1000" smtClean="0"/>
              <a:t> </a:t>
            </a:r>
            <a:r>
              <a:rPr lang="en-US" sz="1000" dirty="0" smtClean="0"/>
              <a:t>T</a:t>
            </a:r>
            <a:endParaRPr lang="en-US" sz="1000" dirty="0"/>
          </a:p>
        </p:txBody>
      </p:sp>
      <p:sp>
        <p:nvSpPr>
          <p:cNvPr id="223" name="Rounded Rectangle 222"/>
          <p:cNvSpPr/>
          <p:nvPr/>
        </p:nvSpPr>
        <p:spPr>
          <a:xfrm>
            <a:off x="6443083" y="3283450"/>
            <a:ext cx="734041" cy="202391"/>
          </a:xfrm>
          <a:prstGeom prst="roundRect">
            <a:avLst>
              <a:gd name="adj" fmla="val 50000"/>
            </a:avLst>
          </a:prstGeom>
          <a:solidFill>
            <a:srgbClr val="E46C0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Rounded Rectangle 223"/>
          <p:cNvSpPr/>
          <p:nvPr/>
        </p:nvSpPr>
        <p:spPr>
          <a:xfrm>
            <a:off x="6479428" y="3311596"/>
            <a:ext cx="667310" cy="1520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TextBox 224"/>
          <p:cNvSpPr txBox="1"/>
          <p:nvPr/>
        </p:nvSpPr>
        <p:spPr>
          <a:xfrm>
            <a:off x="6525722" y="3255815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p2 T</a:t>
            </a:r>
            <a:endParaRPr lang="en-US" sz="1000" dirty="0"/>
          </a:p>
        </p:txBody>
      </p:sp>
      <p:sp>
        <p:nvSpPr>
          <p:cNvPr id="226" name="Rectangle 225"/>
          <p:cNvSpPr/>
          <p:nvPr/>
        </p:nvSpPr>
        <p:spPr>
          <a:xfrm>
            <a:off x="5808432" y="5287620"/>
            <a:ext cx="503485" cy="264421"/>
          </a:xfrm>
          <a:prstGeom prst="rect">
            <a:avLst/>
          </a:prstGeom>
          <a:solidFill>
            <a:srgbClr val="E1E2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TextBox 226"/>
          <p:cNvSpPr txBox="1"/>
          <p:nvPr/>
        </p:nvSpPr>
        <p:spPr>
          <a:xfrm>
            <a:off x="5773171" y="5270112"/>
            <a:ext cx="635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solidFill>
                  <a:schemeClr val="bg1">
                    <a:lumMod val="50000"/>
                  </a:schemeClr>
                </a:solidFill>
              </a:rPr>
              <a:t>AIR BERSIH &amp; SANITASI</a:t>
            </a:r>
            <a:endParaRPr lang="en-US" sz="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496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82506" y="4406902"/>
            <a:ext cx="8420100" cy="693083"/>
          </a:xfrm>
        </p:spPr>
        <p:txBody>
          <a:bodyPr/>
          <a:lstStyle/>
          <a:p>
            <a:pPr algn="ctr"/>
            <a:r>
              <a:rPr lang="en-US" dirty="0" smtClean="0"/>
              <a:t>TERIMA KASI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320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11"/>
          <p:cNvSpPr>
            <a:spLocks noGrp="1"/>
          </p:cNvSpPr>
          <p:nvPr>
            <p:ph type="title"/>
          </p:nvPr>
        </p:nvSpPr>
        <p:spPr>
          <a:xfrm>
            <a:off x="495300" y="186452"/>
            <a:ext cx="8915400" cy="416084"/>
          </a:xfrm>
        </p:spPr>
        <p:txBody>
          <a:bodyPr/>
          <a:lstStyle/>
          <a:p>
            <a:pPr eaLnBrk="1" hangingPunct="1"/>
            <a:r>
              <a:rPr altLang="en-US" sz="2000" dirty="0" smtClean="0">
                <a:latin typeface="Arial" charset="0"/>
                <a:ea typeface="ＭＳ Ｐゴシック" charset="-128"/>
                <a:cs typeface="Arial" charset="0"/>
              </a:rPr>
              <a:t>Agenda</a:t>
            </a:r>
            <a:endParaRPr altLang="en-US" sz="2000" dirty="0">
              <a:latin typeface="Arial" charset="0"/>
              <a:ea typeface="ＭＳ Ｐゴシック" charset="-128"/>
              <a:cs typeface="Arial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9536138"/>
              </p:ext>
            </p:extLst>
          </p:nvPr>
        </p:nvGraphicFramePr>
        <p:xfrm>
          <a:off x="495300" y="1092200"/>
          <a:ext cx="8915400" cy="488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2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9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11"/>
          <p:cNvSpPr>
            <a:spLocks noGrp="1"/>
          </p:cNvSpPr>
          <p:nvPr>
            <p:ph type="title"/>
          </p:nvPr>
        </p:nvSpPr>
        <p:spPr>
          <a:xfrm>
            <a:off x="495300" y="186452"/>
            <a:ext cx="8915400" cy="416084"/>
          </a:xfrm>
        </p:spPr>
        <p:txBody>
          <a:bodyPr/>
          <a:lstStyle/>
          <a:p>
            <a:pPr eaLnBrk="1" hangingPunct="1"/>
            <a:r>
              <a:rPr altLang="en-US" sz="2000" dirty="0" smtClean="0">
                <a:latin typeface="Arial" charset="0"/>
                <a:ea typeface="ＭＳ Ｐゴシック" charset="-128"/>
                <a:cs typeface="Arial" charset="0"/>
              </a:rPr>
              <a:t>Agenda</a:t>
            </a:r>
            <a:endParaRPr altLang="en-US" sz="2000" dirty="0">
              <a:latin typeface="Arial" charset="0"/>
              <a:ea typeface="ＭＳ Ｐゴシック" charset="-128"/>
              <a:cs typeface="Arial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8329497"/>
              </p:ext>
            </p:extLst>
          </p:nvPr>
        </p:nvGraphicFramePr>
        <p:xfrm>
          <a:off x="495300" y="1092200"/>
          <a:ext cx="8915400" cy="488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3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93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 bwMode="auto">
          <a:xfrm>
            <a:off x="5830663" y="1443863"/>
            <a:ext cx="3838271" cy="356326"/>
          </a:xfrm>
          <a:prstGeom prst="rect">
            <a:avLst/>
          </a:prstGeom>
          <a:solidFill>
            <a:schemeClr val="accent6">
              <a:lumMod val="75000"/>
            </a:schemeClr>
          </a:solidFill>
          <a:effectLst/>
        </p:spPr>
        <p:txBody>
          <a:bodyPr wrap="square">
            <a:spAutoFit/>
          </a:bodyPr>
          <a:lstStyle/>
          <a:p>
            <a:pPr defTabSz="914400">
              <a:defRPr/>
            </a:pPr>
            <a:endParaRPr lang="en-US" sz="1200" kern="0" dirty="0">
              <a:solidFill>
                <a:srgbClr val="FFFFFF"/>
              </a:solidFill>
              <a:ea typeface="ＭＳ Ｐゴシック" charset="-128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2349"/>
            <a:ext cx="8915400" cy="723861"/>
          </a:xfrm>
        </p:spPr>
        <p:txBody>
          <a:bodyPr/>
          <a:lstStyle/>
          <a:p>
            <a:r>
              <a:rPr lang="en-US" sz="2000" dirty="0" smtClean="0"/>
              <a:t>KPPIP </a:t>
            </a:r>
            <a:r>
              <a:rPr lang="en-US" sz="2000" dirty="0" err="1" smtClean="0"/>
              <a:t>dibentuk</a:t>
            </a:r>
            <a:r>
              <a:rPr lang="en-US" sz="2000" dirty="0" smtClean="0"/>
              <a:t> </a:t>
            </a:r>
            <a:r>
              <a:rPr lang="en-US" sz="2000" dirty="0" err="1" smtClean="0"/>
              <a:t>sebagai</a:t>
            </a:r>
            <a:r>
              <a:rPr lang="en-US" sz="2000" dirty="0" smtClean="0"/>
              <a:t> </a:t>
            </a:r>
            <a:r>
              <a:rPr lang="en-US" sz="2000" i="1" dirty="0" err="1" smtClean="0"/>
              <a:t>centre</a:t>
            </a:r>
            <a:r>
              <a:rPr lang="en-US" sz="2000" i="1" dirty="0" smtClean="0"/>
              <a:t> of excellence </a:t>
            </a:r>
            <a:r>
              <a:rPr lang="en-US" sz="2000" dirty="0" err="1" smtClean="0"/>
              <a:t>untuk</a:t>
            </a:r>
            <a:r>
              <a:rPr lang="en-US" sz="2000" i="1" dirty="0" smtClean="0"/>
              <a:t> </a:t>
            </a:r>
            <a:r>
              <a:rPr lang="en-US" sz="2000" dirty="0" err="1" smtClean="0"/>
              <a:t>percepatan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penyiapan</a:t>
            </a:r>
            <a:r>
              <a:rPr lang="en-US" sz="2000" dirty="0" smtClean="0"/>
              <a:t> </a:t>
            </a:r>
            <a:r>
              <a:rPr lang="en-US" sz="2000" dirty="0" err="1" smtClean="0"/>
              <a:t>serta</a:t>
            </a:r>
            <a:r>
              <a:rPr lang="en-US" sz="2000" dirty="0" smtClean="0"/>
              <a:t> </a:t>
            </a:r>
            <a:r>
              <a:rPr lang="en-US" sz="2000" dirty="0" err="1" smtClean="0"/>
              <a:t>pemantauan</a:t>
            </a:r>
            <a:r>
              <a:rPr lang="en-US" sz="2000" dirty="0" smtClean="0"/>
              <a:t> </a:t>
            </a:r>
            <a:r>
              <a:rPr lang="en-US" sz="2000" dirty="0" err="1" smtClean="0"/>
              <a:t>pencapaian</a:t>
            </a:r>
            <a:r>
              <a:rPr lang="en-US" sz="2000" dirty="0" smtClean="0"/>
              <a:t> </a:t>
            </a:r>
            <a:r>
              <a:rPr lang="en-US" sz="2000" dirty="0" err="1" smtClean="0"/>
              <a:t>proyek</a:t>
            </a:r>
            <a:r>
              <a:rPr lang="en-US" sz="2000" dirty="0" smtClean="0"/>
              <a:t> </a:t>
            </a:r>
            <a:r>
              <a:rPr lang="en-US" sz="2000" dirty="0" err="1" smtClean="0"/>
              <a:t>infrastruktur</a:t>
            </a:r>
            <a:r>
              <a:rPr lang="en-US" sz="2000" dirty="0" smtClean="0"/>
              <a:t> </a:t>
            </a:r>
            <a:r>
              <a:rPr lang="en-US" sz="2000" dirty="0" err="1" smtClean="0"/>
              <a:t>prioritas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 bwMode="auto">
          <a:xfrm>
            <a:off x="237065" y="1431507"/>
            <a:ext cx="5320421" cy="398810"/>
          </a:xfrm>
          <a:prstGeom prst="rect">
            <a:avLst/>
          </a:prstGeom>
          <a:solidFill>
            <a:schemeClr val="accent6">
              <a:lumMod val="75000"/>
            </a:schemeClr>
          </a:solidFill>
          <a:effectLst/>
        </p:spPr>
        <p:txBody>
          <a:bodyPr wrap="square">
            <a:spAutoFit/>
          </a:bodyPr>
          <a:lstStyle/>
          <a:p>
            <a:pPr defTabSz="914400">
              <a:defRPr/>
            </a:pPr>
            <a:endParaRPr lang="en-US" sz="1200" kern="0" dirty="0">
              <a:solidFill>
                <a:srgbClr val="FFFFFF"/>
              </a:solidFill>
              <a:ea typeface="ＭＳ Ｐゴシック" charset="-128"/>
              <a:cs typeface="Arial"/>
            </a:endParaRPr>
          </a:p>
        </p:txBody>
      </p:sp>
      <p:pic>
        <p:nvPicPr>
          <p:cNvPr id="13" name="Picture 12" descr="kemenkeu.jp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189" t="5463" r="20058" b="8595"/>
          <a:stretch/>
        </p:blipFill>
        <p:spPr>
          <a:xfrm>
            <a:off x="251517" y="3428441"/>
            <a:ext cx="493437" cy="454468"/>
          </a:xfrm>
          <a:prstGeom prst="rect">
            <a:avLst/>
          </a:prstGeom>
        </p:spPr>
      </p:pic>
      <p:pic>
        <p:nvPicPr>
          <p:cNvPr id="15" name="Picture 14" descr="bappenas.jpg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4000" y1="75111" x2="4000" y2="75111"/>
                        <a14:foregroundMark x1="10667" y1="75111" x2="10667" y2="75111"/>
                        <a14:foregroundMark x1="17333" y1="76000" x2="17333" y2="76000"/>
                        <a14:foregroundMark x1="27111" y1="75111" x2="27111" y2="75111"/>
                        <a14:foregroundMark x1="36444" y1="73778" x2="36444" y2="73778"/>
                        <a14:foregroundMark x1="40889" y1="75111" x2="40889" y2="75111"/>
                        <a14:foregroundMark x1="48000" y1="74222" x2="48000" y2="74222"/>
                        <a14:foregroundMark x1="52000" y1="73778" x2="52000" y2="73778"/>
                        <a14:foregroundMark x1="56000" y1="74667" x2="56000" y2="74667"/>
                        <a14:foregroundMark x1="56889" y1="70667" x2="56889" y2="70667"/>
                        <a14:foregroundMark x1="60889" y1="74222" x2="60889" y2="74222"/>
                        <a14:foregroundMark x1="65778" y1="73778" x2="65778" y2="73778"/>
                        <a14:foregroundMark x1="77778" y1="72000" x2="77778" y2="72000"/>
                        <a14:foregroundMark x1="84889" y1="72889" x2="84889" y2="72889"/>
                        <a14:foregroundMark x1="88889" y1="73333" x2="88889" y2="73333"/>
                        <a14:foregroundMark x1="95111" y1="76000" x2="95111" y2="76000"/>
                        <a14:foregroundMark x1="28889" y1="85333" x2="28889" y2="85333"/>
                        <a14:foregroundMark x1="32000" y1="88444" x2="32000" y2="88444"/>
                        <a14:foregroundMark x1="38222" y1="87556" x2="38222" y2="87556"/>
                        <a14:foregroundMark x1="44889" y1="87556" x2="44889" y2="87556"/>
                        <a14:foregroundMark x1="51111" y1="87556" x2="51111" y2="87556"/>
                        <a14:foregroundMark x1="57778" y1="88000" x2="57778" y2="88000"/>
                        <a14:foregroundMark x1="64444" y1="88000" x2="64444" y2="88000"/>
                        <a14:foregroundMark x1="71111" y1="86667" x2="71111" y2="86667"/>
                        <a14:foregroundMark x1="37778" y1="8444" x2="37778" y2="8444"/>
                        <a14:foregroundMark x1="45778" y1="8444" x2="45778" y2="8444"/>
                        <a14:foregroundMark x1="45778" y1="8444" x2="45778" y2="8444"/>
                        <a14:foregroundMark x1="54222" y1="12889" x2="54222" y2="12889"/>
                        <a14:foregroundMark x1="57333" y1="14222" x2="57333" y2="14222"/>
                        <a14:foregroundMark x1="58667" y1="15556" x2="58667" y2="15556"/>
                        <a14:foregroundMark x1="58667" y1="19111" x2="58667" y2="19111"/>
                        <a14:foregroundMark x1="42222" y1="10667" x2="42222" y2="10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17" y="4209597"/>
            <a:ext cx="616024" cy="616024"/>
          </a:xfrm>
          <a:prstGeom prst="rect">
            <a:avLst/>
          </a:prstGeom>
        </p:spPr>
      </p:pic>
      <p:pic>
        <p:nvPicPr>
          <p:cNvPr id="16" name="Picture 15" descr="menko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02" y="1871719"/>
            <a:ext cx="423052" cy="455789"/>
          </a:xfrm>
          <a:prstGeom prst="rect">
            <a:avLst/>
          </a:prstGeom>
        </p:spPr>
      </p:pic>
      <p:pic>
        <p:nvPicPr>
          <p:cNvPr id="22" name="Picture 21" descr="KemenLHK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02" y="5828587"/>
            <a:ext cx="457200" cy="45720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819064" y="4318521"/>
            <a:ext cx="4755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buFont typeface="Courier New"/>
              <a:buChar char="o"/>
            </a:pPr>
            <a:r>
              <a:rPr lang="en-US" sz="1200" dirty="0" err="1" smtClean="0">
                <a:cs typeface="Arial"/>
              </a:rPr>
              <a:t>Penilaian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 smtClean="0">
                <a:cs typeface="Arial"/>
              </a:rPr>
              <a:t>dan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 smtClean="0">
                <a:cs typeface="Arial"/>
              </a:rPr>
              <a:t>pemberian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fasilitas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smtClean="0">
                <a:cs typeface="Arial"/>
              </a:rPr>
              <a:t>OBC</a:t>
            </a:r>
            <a:r>
              <a:rPr lang="id-ID" sz="1200" baseline="30000" dirty="0">
                <a:cs typeface="Arial"/>
                <a:sym typeface="Wingdings"/>
              </a:rPr>
              <a:t> </a:t>
            </a:r>
            <a:r>
              <a:rPr lang="id-ID" sz="1200" baseline="30000" dirty="0" smtClean="0">
                <a:cs typeface="Arial"/>
                <a:sym typeface="Wingdings"/>
              </a:rPr>
              <a:t>1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untuk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proyek</a:t>
            </a:r>
            <a:r>
              <a:rPr lang="en-US" sz="1200" dirty="0">
                <a:cs typeface="Arial"/>
              </a:rPr>
              <a:t> </a:t>
            </a:r>
            <a:r>
              <a:rPr lang="en-US" sz="1200" i="1" dirty="0">
                <a:cs typeface="Arial"/>
              </a:rPr>
              <a:t>bottom-up </a:t>
            </a:r>
            <a:r>
              <a:rPr lang="en-US" sz="1200" dirty="0" err="1" smtClean="0">
                <a:cs typeface="Arial"/>
              </a:rPr>
              <a:t>serta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m</a:t>
            </a:r>
            <a:r>
              <a:rPr lang="en-US" sz="1200" dirty="0" err="1" smtClean="0">
                <a:cs typeface="Arial"/>
              </a:rPr>
              <a:t>enyusun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 smtClean="0">
                <a:cs typeface="Arial"/>
              </a:rPr>
              <a:t>standar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 smtClean="0">
                <a:cs typeface="Arial"/>
              </a:rPr>
              <a:t>dan</a:t>
            </a:r>
            <a:r>
              <a:rPr lang="en-US" sz="1200" dirty="0" smtClean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acuan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kualitas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Pra-Studi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Kelayakan</a:t>
            </a:r>
            <a:endParaRPr lang="en-US" sz="1200" dirty="0"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02270" y="5270619"/>
            <a:ext cx="47552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Courier New"/>
              <a:buChar char="o"/>
            </a:pPr>
            <a:r>
              <a:rPr lang="en-AU" sz="1200" i="1" dirty="0">
                <a:cs typeface="Arial"/>
                <a:sym typeface="Wingdings"/>
              </a:rPr>
              <a:t>Debottlenec</a:t>
            </a:r>
            <a:r>
              <a:rPr lang="en-AU" sz="1200" dirty="0">
                <a:cs typeface="Arial"/>
                <a:sym typeface="Wingdings"/>
              </a:rPr>
              <a:t>k </a:t>
            </a:r>
            <a:r>
              <a:rPr lang="en-AU" sz="1200" dirty="0" err="1" smtClean="0">
                <a:cs typeface="Arial"/>
                <a:sym typeface="Wingdings"/>
              </a:rPr>
              <a:t>isu-isu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dan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mendukung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usaha-usaha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percepatan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terkait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deng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pengada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tanah</a:t>
            </a:r>
            <a:r>
              <a:rPr lang="en-AU" sz="1200" dirty="0">
                <a:cs typeface="Arial"/>
                <a:sym typeface="Wingdings"/>
              </a:rPr>
              <a:t> </a:t>
            </a:r>
          </a:p>
        </p:txBody>
      </p:sp>
      <p:pic>
        <p:nvPicPr>
          <p:cNvPr id="30" name="Picture 29" descr="bpn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17" y="5074798"/>
            <a:ext cx="507647" cy="519929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802270" y="2095393"/>
            <a:ext cx="47552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Courier New"/>
              <a:buChar char="o"/>
            </a:pPr>
            <a:r>
              <a:rPr lang="en-AU" sz="1200" dirty="0" err="1">
                <a:cs typeface="Arial"/>
                <a:sym typeface="Wingdings"/>
              </a:rPr>
              <a:t>Memberik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fasilitas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penunjang</a:t>
            </a:r>
            <a:r>
              <a:rPr lang="en-AU" sz="1200" dirty="0" smtClean="0">
                <a:cs typeface="Arial"/>
                <a:sym typeface="Wingdings"/>
              </a:rPr>
              <a:t> OBC</a:t>
            </a:r>
            <a:r>
              <a:rPr lang="id-ID" sz="1200" baseline="30000" dirty="0">
                <a:cs typeface="Arial"/>
                <a:sym typeface="Wingdings"/>
              </a:rPr>
              <a:t> 1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untuk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proyek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i="1" dirty="0" smtClean="0">
                <a:cs typeface="Arial"/>
                <a:sym typeface="Wingdings"/>
              </a:rPr>
              <a:t>top-down</a:t>
            </a:r>
            <a:r>
              <a:rPr lang="en-AU" sz="1200" dirty="0" smtClean="0">
                <a:cs typeface="Arial"/>
                <a:sym typeface="Wingdings"/>
              </a:rPr>
              <a:t>,</a:t>
            </a:r>
            <a:endParaRPr lang="en-AU" sz="1200" i="1" dirty="0">
              <a:cs typeface="Arial"/>
              <a:sym typeface="Wingdings"/>
            </a:endParaRPr>
          </a:p>
          <a:p>
            <a:pPr marL="228600" indent="-228600">
              <a:buFont typeface="Courier New"/>
              <a:buChar char="o"/>
            </a:pPr>
            <a:r>
              <a:rPr lang="en-AU" sz="1200" dirty="0" err="1" smtClean="0">
                <a:cs typeface="Arial"/>
                <a:sym typeface="Wingdings"/>
              </a:rPr>
              <a:t>memantau</a:t>
            </a:r>
            <a:r>
              <a:rPr lang="en-AU" sz="1200" dirty="0" smtClean="0">
                <a:cs typeface="Arial"/>
                <a:sym typeface="Wingdings"/>
              </a:rPr>
              <a:t> &amp; </a:t>
            </a:r>
            <a:r>
              <a:rPr lang="en-AU" sz="1200" i="1" dirty="0">
                <a:cs typeface="Arial"/>
                <a:sym typeface="Wingdings"/>
              </a:rPr>
              <a:t>debottlenecking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isu-isu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proyek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bidang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ekonomi</a:t>
            </a:r>
            <a:endParaRPr lang="en-AU" sz="1200" dirty="0">
              <a:cs typeface="Arial"/>
              <a:sym typeface="Wingding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02270" y="3590764"/>
            <a:ext cx="47552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buFont typeface="Courier New"/>
              <a:buChar char="o"/>
            </a:pPr>
            <a:r>
              <a:rPr lang="en-AU" sz="1200" dirty="0" smtClean="0">
                <a:cs typeface="Arial"/>
                <a:sym typeface="Wingdings"/>
              </a:rPr>
              <a:t>Me-</a:t>
            </a:r>
            <a:r>
              <a:rPr lang="en-AU" sz="1200" i="1" dirty="0" smtClean="0">
                <a:cs typeface="Arial"/>
                <a:sym typeface="Wingdings"/>
              </a:rPr>
              <a:t>review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d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menyetujui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d</a:t>
            </a:r>
            <a:r>
              <a:rPr lang="en-AU" sz="1200" dirty="0" err="1" smtClean="0">
                <a:cs typeface="Arial"/>
                <a:sym typeface="Wingdings"/>
              </a:rPr>
              <a:t>ukungan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d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Jaminan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Pemerintah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serta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m</a:t>
            </a:r>
            <a:r>
              <a:rPr lang="en-AU" sz="1200" dirty="0" err="1" smtClean="0">
                <a:cs typeface="Arial"/>
                <a:sym typeface="Wingdings"/>
              </a:rPr>
              <a:t>enyediakan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fasilitas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smtClean="0">
                <a:cs typeface="Arial"/>
                <a:sym typeface="Wingdings"/>
              </a:rPr>
              <a:t>PDF</a:t>
            </a:r>
            <a:r>
              <a:rPr lang="id-ID" sz="1200" baseline="30000" dirty="0">
                <a:cs typeface="Arial"/>
                <a:sym typeface="Wingdings"/>
              </a:rPr>
              <a:t>2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untuk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>
                <a:cs typeface="Arial"/>
                <a:sym typeface="Wingdings"/>
              </a:rPr>
              <a:t>proyek</a:t>
            </a:r>
            <a:r>
              <a:rPr lang="en-AU" sz="1200" dirty="0">
                <a:cs typeface="Arial"/>
                <a:sym typeface="Wingdings"/>
              </a:rPr>
              <a:t> KPBU </a:t>
            </a:r>
          </a:p>
        </p:txBody>
      </p:sp>
      <p:sp>
        <p:nvSpPr>
          <p:cNvPr id="41" name="TextBox 40"/>
          <p:cNvSpPr txBox="1"/>
          <p:nvPr/>
        </p:nvSpPr>
        <p:spPr bwMode="auto">
          <a:xfrm>
            <a:off x="819065" y="6500597"/>
            <a:ext cx="81273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id-ID" sz="1000" kern="0" baseline="3000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1</a:t>
            </a:r>
            <a:r>
              <a:rPr lang="id-ID" sz="1000" i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OBC: Outline Business Case; </a:t>
            </a:r>
            <a:r>
              <a:rPr lang="id-ID" sz="1000" i="1" kern="0" baseline="3000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2</a:t>
            </a:r>
            <a:r>
              <a:rPr lang="id-ID" sz="1000" i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DF: Project Development Facility</a:t>
            </a:r>
            <a:endParaRPr lang="en-US" sz="1000" kern="0" dirty="0">
              <a:solidFill>
                <a:sysClr val="windowText" lastClr="000000"/>
              </a:solidFill>
              <a:latin typeface="Arial"/>
              <a:ea typeface="ＭＳ Ｐゴシック" charset="-128"/>
              <a:cs typeface="Arial"/>
            </a:endParaRPr>
          </a:p>
        </p:txBody>
      </p:sp>
      <p:sp>
        <p:nvSpPr>
          <p:cNvPr id="43" name="TextBox 42"/>
          <p:cNvSpPr txBox="1"/>
          <p:nvPr/>
        </p:nvSpPr>
        <p:spPr bwMode="auto">
          <a:xfrm>
            <a:off x="237065" y="782848"/>
            <a:ext cx="94318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PPIP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diberik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ewenang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melalui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erpres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No. 75/2014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dalam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engambil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eputus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,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eterlibat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dalam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royek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sejak</a:t>
            </a:r>
            <a:r>
              <a:rPr lang="id-ID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tahap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erencana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d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id-ID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enguatan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apasitas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SDM. </a:t>
            </a:r>
            <a:r>
              <a:rPr lang="en-US" sz="1200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Melalui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Perpres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No. 122/2016, </a:t>
            </a:r>
            <a:r>
              <a:rPr lang="en-US" sz="1200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terdapat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2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yang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menjadi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anggota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baru</a:t>
            </a:r>
            <a:r>
              <a:rPr lang="en-US" sz="1200" b="1" kern="0" dirty="0" smtClean="0">
                <a:solidFill>
                  <a:sysClr val="windowText" lastClr="000000"/>
                </a:solidFill>
                <a:latin typeface="Arial"/>
                <a:ea typeface="ＭＳ Ｐゴシック" charset="-128"/>
                <a:cs typeface="Arial"/>
              </a:rPr>
              <a:t> KPPIP</a:t>
            </a:r>
            <a:endParaRPr lang="en-US" sz="1200" b="1" kern="0" dirty="0">
              <a:solidFill>
                <a:sysClr val="windowText" lastClr="000000"/>
              </a:solidFill>
              <a:latin typeface="Arial"/>
              <a:ea typeface="ＭＳ Ｐゴシック" charset="-128"/>
              <a:cs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18809" y="1461635"/>
            <a:ext cx="40061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1600" b="1" kern="0" dirty="0" smtClean="0">
                <a:solidFill>
                  <a:schemeClr val="bg1"/>
                </a:solidFill>
                <a:ea typeface="ＭＳ Ｐゴシック" charset="-128"/>
                <a:cs typeface="Arial"/>
              </a:rPr>
              <a:t>ANGGOTA KPPIP</a:t>
            </a:r>
            <a:endParaRPr lang="en-US" sz="1600" b="1" kern="0" dirty="0">
              <a:solidFill>
                <a:schemeClr val="bg1"/>
              </a:solidFill>
              <a:ea typeface="ＭＳ Ｐゴシック" charset="-128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02270" y="1871719"/>
            <a:ext cx="4291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oordinator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Bidang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Perekonom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</a:p>
        </p:txBody>
      </p:sp>
      <p:sp>
        <p:nvSpPr>
          <p:cNvPr id="46" name="Rectangle 45"/>
          <p:cNvSpPr/>
          <p:nvPr/>
        </p:nvSpPr>
        <p:spPr>
          <a:xfrm>
            <a:off x="802270" y="5064834"/>
            <a:ext cx="4291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Agraria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d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Tata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Ruang</a:t>
            </a:r>
            <a:r>
              <a:rPr lang="en-US" sz="1200" b="1" kern="0" dirty="0" smtClean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/BPN</a:t>
            </a:r>
            <a:endParaRPr lang="en-US" sz="1200" b="1" kern="0" dirty="0">
              <a:solidFill>
                <a:sysClr val="windowText" lastClr="000000"/>
              </a:solidFill>
              <a:ea typeface="ＭＳ Ｐゴシック" charset="-128"/>
              <a:cs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02270" y="3378676"/>
            <a:ext cx="4291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uangan</a:t>
            </a:r>
            <a:endParaRPr lang="en-US" sz="1200" b="1" kern="0" dirty="0">
              <a:solidFill>
                <a:sysClr val="windowText" lastClr="000000"/>
              </a:solidFill>
              <a:ea typeface="ＭＳ Ｐゴシック" charset="-128"/>
              <a:cs typeface="Arial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802270" y="4130035"/>
            <a:ext cx="4755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Perencana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Pembangunan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Nasional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/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Bappenas</a:t>
            </a:r>
            <a:endParaRPr lang="en-US" sz="1200" b="1" kern="0" dirty="0">
              <a:solidFill>
                <a:sysClr val="windowText" lastClr="000000"/>
              </a:solidFill>
              <a:ea typeface="ＭＳ Ｐゴシック" charset="-128"/>
              <a:cs typeface="Arial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02173" y="2639230"/>
            <a:ext cx="42759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oordinator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Bidang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aritim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smtClean="0">
                <a:solidFill>
                  <a:srgbClr val="4BACC6"/>
                </a:solidFill>
                <a:ea typeface="ＭＳ Ｐゴシック" charset="-128"/>
                <a:cs typeface="Arial"/>
              </a:rPr>
              <a:t>- </a:t>
            </a:r>
            <a:r>
              <a:rPr lang="en-US" sz="1200" b="1" kern="0" dirty="0" err="1" smtClean="0">
                <a:solidFill>
                  <a:srgbClr val="4BACC6"/>
                </a:solidFill>
                <a:ea typeface="ＭＳ Ｐゴシック" charset="-128"/>
                <a:cs typeface="Arial"/>
              </a:rPr>
              <a:t>Baru</a:t>
            </a:r>
            <a:endParaRPr lang="en-US" sz="1200" b="1" kern="0" dirty="0">
              <a:solidFill>
                <a:srgbClr val="4BACC6"/>
              </a:solidFill>
              <a:ea typeface="ＭＳ Ｐゴシック" charset="-128"/>
              <a:cs typeface="Arial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802270" y="5825513"/>
            <a:ext cx="4291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menteri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Lingkungan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err="1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Hidup</a:t>
            </a:r>
            <a:r>
              <a:rPr lang="en-US" sz="1200" b="1" kern="0" dirty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 &amp; </a:t>
            </a:r>
            <a:r>
              <a:rPr lang="en-US" sz="1200" b="1" kern="0" dirty="0" err="1" smtClean="0">
                <a:solidFill>
                  <a:sysClr val="windowText" lastClr="000000"/>
                </a:solidFill>
                <a:ea typeface="ＭＳ Ｐゴシック" charset="-128"/>
                <a:cs typeface="Arial"/>
              </a:rPr>
              <a:t>Kehutanan</a:t>
            </a:r>
            <a:r>
              <a:rPr lang="en-US" sz="1200" b="1" kern="0" dirty="0">
                <a:solidFill>
                  <a:srgbClr val="4BACC6"/>
                </a:solidFill>
                <a:ea typeface="ＭＳ Ｐゴシック" charset="-128"/>
                <a:cs typeface="Arial"/>
              </a:rPr>
              <a:t> </a:t>
            </a:r>
            <a:r>
              <a:rPr lang="en-US" sz="1200" b="1" kern="0" dirty="0" smtClean="0">
                <a:solidFill>
                  <a:srgbClr val="4BACC6"/>
                </a:solidFill>
                <a:ea typeface="ＭＳ Ｐゴシック" charset="-128"/>
                <a:cs typeface="Arial"/>
              </a:rPr>
              <a:t>- </a:t>
            </a:r>
            <a:r>
              <a:rPr lang="en-US" sz="1200" b="1" kern="0" dirty="0" err="1" smtClean="0">
                <a:solidFill>
                  <a:srgbClr val="4BACC6"/>
                </a:solidFill>
                <a:ea typeface="ＭＳ Ｐゴシック" charset="-128"/>
                <a:cs typeface="Arial"/>
              </a:rPr>
              <a:t>Baru</a:t>
            </a:r>
            <a:endParaRPr lang="en-US" sz="1200" b="1" kern="0" dirty="0">
              <a:solidFill>
                <a:srgbClr val="4BACC6"/>
              </a:solidFill>
              <a:ea typeface="ＭＳ Ｐゴシック" charset="-128"/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206899" y="1973909"/>
            <a:ext cx="3672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netapkan standar kualitas Pra-Studi </a:t>
            </a:r>
            <a:r>
              <a:rPr lang="id-ID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Kelayakan, melakukan </a:t>
            </a:r>
            <a:r>
              <a:rPr lang="id-ID" sz="1400" b="1" i="1" dirty="0" err="1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review</a:t>
            </a:r>
            <a:r>
              <a:rPr lang="id-ID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serta </a:t>
            </a:r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revisi/ </a:t>
            </a:r>
            <a:r>
              <a:rPr lang="id-ID" sz="1400" b="1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re-do</a:t>
            </a:r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jika diperluka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206899" y="2852580"/>
            <a:ext cx="367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netapkan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Daftar Proyek Prioritas</a:t>
            </a:r>
            <a:endParaRPr lang="en-US" sz="1400" b="1" i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206899" y="3349385"/>
            <a:ext cx="32038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netapkan </a:t>
            </a:r>
            <a:r>
              <a:rPr lang="id-ID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s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kema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&amp;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sumber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pendanaan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206899" y="3941217"/>
            <a:ext cx="36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lakukan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pemantauan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dan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b="1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debottlenecking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206899" y="4527602"/>
            <a:ext cx="36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netapkan </a:t>
            </a:r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strategi dan kebijakan di sektor </a:t>
            </a:r>
            <a:r>
              <a:rPr lang="id-ID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infrastruktur</a:t>
            </a:r>
            <a:endParaRPr lang="id-ID" sz="1400" b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206899" y="5198618"/>
            <a:ext cx="3672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Memfasilitasi </a:t>
            </a:r>
            <a:r>
              <a:rPr lang="id-ID"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peningkatan kapasitas aparatur dan kelembagaan terkait dengan penyediaan infrastruktur prioritas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5830663" y="2007996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60" name="Oval 59"/>
          <p:cNvSpPr/>
          <p:nvPr/>
        </p:nvSpPr>
        <p:spPr bwMode="auto">
          <a:xfrm>
            <a:off x="5830663" y="2855557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5830663" y="3392276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3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5830663" y="3924505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5830663" y="4516296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5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Oval 63"/>
          <p:cNvSpPr/>
          <p:nvPr/>
        </p:nvSpPr>
        <p:spPr bwMode="auto">
          <a:xfrm>
            <a:off x="5830859" y="5205848"/>
            <a:ext cx="304800" cy="3048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6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819065" y="2848719"/>
            <a:ext cx="47552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Courier New"/>
              <a:buChar char="o"/>
            </a:pPr>
            <a:r>
              <a:rPr lang="en-AU" sz="1200" dirty="0" err="1">
                <a:cs typeface="Arial"/>
                <a:sym typeface="Wingdings"/>
              </a:rPr>
              <a:t>M</a:t>
            </a:r>
            <a:r>
              <a:rPr lang="en-AU" sz="1200" dirty="0" err="1" smtClean="0">
                <a:cs typeface="Arial"/>
                <a:sym typeface="Wingdings"/>
              </a:rPr>
              <a:t>emantau</a:t>
            </a:r>
            <a:r>
              <a:rPr lang="en-AU" sz="1200" dirty="0" smtClean="0">
                <a:cs typeface="Arial"/>
                <a:sym typeface="Wingdings"/>
              </a:rPr>
              <a:t> &amp; </a:t>
            </a:r>
            <a:r>
              <a:rPr lang="en-AU" sz="1200" i="1" dirty="0">
                <a:cs typeface="Arial"/>
                <a:sym typeface="Wingdings"/>
              </a:rPr>
              <a:t>debottlenecking</a:t>
            </a:r>
            <a:r>
              <a:rPr lang="en-AU" sz="1200" dirty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isu-isu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proyek</a:t>
            </a:r>
            <a:r>
              <a:rPr lang="en-AU" sz="1200" dirty="0" smtClean="0">
                <a:cs typeface="Arial"/>
                <a:sym typeface="Wingdings"/>
              </a:rPr>
              <a:t> di </a:t>
            </a:r>
            <a:r>
              <a:rPr lang="en-AU" sz="1200" dirty="0" err="1" smtClean="0">
                <a:cs typeface="Arial"/>
                <a:sym typeface="Wingdings"/>
              </a:rPr>
              <a:t>sektor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energi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dan</a:t>
            </a:r>
            <a:r>
              <a:rPr lang="en-AU" sz="1200" dirty="0" smtClean="0">
                <a:cs typeface="Arial"/>
                <a:sym typeface="Wingdings"/>
              </a:rPr>
              <a:t> </a:t>
            </a:r>
            <a:r>
              <a:rPr lang="en-AU" sz="1200" dirty="0" err="1" smtClean="0">
                <a:cs typeface="Arial"/>
                <a:sym typeface="Wingdings"/>
              </a:rPr>
              <a:t>transportasi</a:t>
            </a:r>
            <a:endParaRPr lang="en-AU" sz="1200" dirty="0">
              <a:cs typeface="Arial"/>
              <a:sym typeface="Wingdings"/>
            </a:endParaRPr>
          </a:p>
        </p:txBody>
      </p:sp>
      <p:sp>
        <p:nvSpPr>
          <p:cNvPr id="67" name="Rectangle 32"/>
          <p:cNvSpPr>
            <a:spLocks noChangeArrowheads="1"/>
          </p:cNvSpPr>
          <p:nvPr/>
        </p:nvSpPr>
        <p:spPr bwMode="auto">
          <a:xfrm>
            <a:off x="802173" y="6028611"/>
            <a:ext cx="475531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28600" indent="-228600">
              <a:buFont typeface="Courier New" charset="0"/>
              <a:buChar char="o"/>
            </a:pPr>
            <a:r>
              <a:rPr lang="en-US" sz="1200" dirty="0" err="1" smtClean="0">
                <a:sym typeface="Wingdings" charset="0"/>
              </a:rPr>
              <a:t>Mendukung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percepata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penerbita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izi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lingkungan</a:t>
            </a:r>
            <a:r>
              <a:rPr lang="en-US" sz="1200" dirty="0" smtClean="0">
                <a:sym typeface="Wingdings" charset="0"/>
              </a:rPr>
              <a:t>, IPPKH </a:t>
            </a:r>
            <a:r>
              <a:rPr lang="en-US" sz="1200" dirty="0" err="1" smtClean="0">
                <a:sym typeface="Wingdings" charset="0"/>
              </a:rPr>
              <a:t>da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pengadaa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tanah</a:t>
            </a:r>
            <a:r>
              <a:rPr lang="en-US" sz="1200" dirty="0" smtClean="0">
                <a:sym typeface="Wingdings" charset="0"/>
              </a:rPr>
              <a:t> di </a:t>
            </a:r>
            <a:r>
              <a:rPr lang="en-US" sz="1200" dirty="0" err="1" smtClean="0">
                <a:sym typeface="Wingdings" charset="0"/>
              </a:rPr>
              <a:t>kawasan</a:t>
            </a:r>
            <a:r>
              <a:rPr lang="en-US" sz="1200" dirty="0" smtClean="0">
                <a:sym typeface="Wingdings" charset="0"/>
              </a:rPr>
              <a:t> </a:t>
            </a:r>
            <a:r>
              <a:rPr lang="en-US" sz="1200" dirty="0" err="1" smtClean="0">
                <a:sym typeface="Wingdings" charset="0"/>
              </a:rPr>
              <a:t>hutan</a:t>
            </a:r>
            <a:endParaRPr lang="en-AU" sz="1200" dirty="0">
              <a:sym typeface="Wingdings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140050" y="1456722"/>
            <a:ext cx="33567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1600" b="1" kern="0" dirty="0" smtClean="0">
                <a:solidFill>
                  <a:schemeClr val="bg1"/>
                </a:solidFill>
                <a:ea typeface="ＭＳ Ｐゴシック" charset="-128"/>
                <a:cs typeface="Arial"/>
              </a:rPr>
              <a:t>6 TUGAS KPPIP</a:t>
            </a:r>
            <a:endParaRPr lang="en-US" sz="1600" b="1" kern="0" dirty="0">
              <a:solidFill>
                <a:schemeClr val="bg1"/>
              </a:solidFill>
              <a:ea typeface="ＭＳ Ｐゴシック" charset="-128"/>
              <a:cs typeface="Arial"/>
            </a:endParaRPr>
          </a:p>
        </p:txBody>
      </p:sp>
      <p:sp>
        <p:nvSpPr>
          <p:cNvPr id="4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7" name="Picture 56" descr="menko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58" y="2712573"/>
            <a:ext cx="423052" cy="45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92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Elbow Connector 72"/>
          <p:cNvCxnSpPr/>
          <p:nvPr/>
        </p:nvCxnSpPr>
        <p:spPr>
          <a:xfrm rot="16200000" flipH="1">
            <a:off x="3328041" y="4678921"/>
            <a:ext cx="304172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/>
          <p:cNvSpPr/>
          <p:nvPr/>
        </p:nvSpPr>
        <p:spPr>
          <a:xfrm>
            <a:off x="2888802" y="3884768"/>
            <a:ext cx="1129070" cy="764822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4098560" y="3877503"/>
            <a:ext cx="1129070" cy="1111987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5369031" y="3857913"/>
            <a:ext cx="1129070" cy="1111987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7935716" y="3853182"/>
            <a:ext cx="1129070" cy="1111987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680352" y="3857913"/>
            <a:ext cx="1129070" cy="1111987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2348"/>
            <a:ext cx="9258300" cy="723861"/>
          </a:xfrm>
        </p:spPr>
        <p:txBody>
          <a:bodyPr/>
          <a:lstStyle/>
          <a:p>
            <a:r>
              <a:rPr lang="en-US" sz="2000" dirty="0" smtClean="0"/>
              <a:t>KPPIP </a:t>
            </a:r>
            <a:r>
              <a:rPr lang="en-US" sz="2000" dirty="0" err="1" smtClean="0"/>
              <a:t>didukung</a:t>
            </a:r>
            <a:r>
              <a:rPr lang="en-US" sz="2000" dirty="0" smtClean="0"/>
              <a:t> </a:t>
            </a:r>
            <a:r>
              <a:rPr lang="en-US" sz="2000" dirty="0" err="1"/>
              <a:t>oleh</a:t>
            </a:r>
            <a:r>
              <a:rPr lang="en-US" sz="2000" dirty="0"/>
              <a:t> Tim </a:t>
            </a:r>
            <a:r>
              <a:rPr lang="en-US" sz="2000" dirty="0" err="1"/>
              <a:t>Pelaksana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i="1" dirty="0" smtClean="0"/>
              <a:t>Project </a:t>
            </a:r>
            <a:r>
              <a:rPr lang="en-US" sz="2000" i="1" dirty="0"/>
              <a:t>Management Office </a:t>
            </a:r>
            <a:r>
              <a:rPr lang="en-US" sz="2000" dirty="0"/>
              <a:t>(PMO) </a:t>
            </a:r>
            <a:r>
              <a:rPr lang="en-US" sz="2000" dirty="0" smtClean="0"/>
              <a:t>yang </a:t>
            </a:r>
            <a:r>
              <a:rPr lang="en-US" sz="2000" dirty="0" err="1" smtClean="0"/>
              <a:t>diisi</a:t>
            </a:r>
            <a:r>
              <a:rPr lang="en-US" sz="2000" dirty="0" smtClean="0"/>
              <a:t> </a:t>
            </a:r>
            <a:r>
              <a:rPr lang="en-US" sz="2000" dirty="0" err="1" smtClean="0"/>
              <a:t>tenaga</a:t>
            </a:r>
            <a:r>
              <a:rPr lang="en-US" sz="2000" dirty="0" smtClean="0"/>
              <a:t> </a:t>
            </a:r>
            <a:r>
              <a:rPr lang="en-US" sz="2000" dirty="0" err="1" smtClean="0"/>
              <a:t>ahli</a:t>
            </a:r>
            <a:r>
              <a:rPr lang="en-US" sz="2000" dirty="0" smtClean="0"/>
              <a:t> </a:t>
            </a:r>
            <a:r>
              <a:rPr lang="en-US" sz="2000" dirty="0" err="1" smtClean="0"/>
              <a:t>profesional</a:t>
            </a:r>
            <a:r>
              <a:rPr lang="en-US" sz="2000" dirty="0" smtClean="0"/>
              <a:t> </a:t>
            </a:r>
            <a:r>
              <a:rPr lang="en-US" sz="2000" dirty="0" err="1" smtClean="0"/>
              <a:t>terpilih</a:t>
            </a:r>
            <a:r>
              <a:rPr lang="en-US" sz="2000" dirty="0" smtClean="0"/>
              <a:t> </a:t>
            </a:r>
            <a:r>
              <a:rPr lang="en-US" sz="2000" dirty="0" err="1" smtClean="0"/>
              <a:t>sebagai</a:t>
            </a:r>
            <a:r>
              <a:rPr lang="en-US" sz="2000" dirty="0" smtClean="0"/>
              <a:t> </a:t>
            </a:r>
            <a:r>
              <a:rPr lang="en-US" sz="2000" dirty="0" err="1" smtClean="0"/>
              <a:t>penggerak</a:t>
            </a:r>
            <a:r>
              <a:rPr lang="en-US" sz="2000" dirty="0" smtClean="0"/>
              <a:t> </a:t>
            </a:r>
            <a:r>
              <a:rPr lang="en-US" sz="2000" dirty="0" err="1" smtClean="0"/>
              <a:t>utama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46D494-7267-194E-A2F6-517973E63D5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667945" y="3866412"/>
            <a:ext cx="1129070" cy="1111987"/>
          </a:xfrm>
          <a:prstGeom prst="roundRect">
            <a:avLst/>
          </a:prstGeom>
          <a:solidFill>
            <a:schemeClr val="accent5"/>
          </a:solidFill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717059" y="1591523"/>
            <a:ext cx="2575586" cy="44659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720039" y="2314857"/>
            <a:ext cx="2580357" cy="49613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70891" y="2792220"/>
            <a:ext cx="2246665" cy="621458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7574098" y="2834048"/>
            <a:ext cx="1956959" cy="621458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675862" y="4553081"/>
            <a:ext cx="976961" cy="62145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23669" y="1664364"/>
            <a:ext cx="2568976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Tim </a:t>
            </a:r>
            <a:r>
              <a:rPr lang="en-US" sz="1200" b="1" dirty="0" err="1">
                <a:solidFill>
                  <a:schemeClr val="bg1"/>
                </a:solidFill>
              </a:rPr>
              <a:t>Pelaksana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Haria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33549" y="2401022"/>
            <a:ext cx="2568976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Direktur</a:t>
            </a:r>
            <a:r>
              <a:rPr lang="en-US" sz="1200" b="1" dirty="0">
                <a:solidFill>
                  <a:schemeClr val="bg1"/>
                </a:solidFill>
              </a:rPr>
              <a:t> Progra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65689" y="2803349"/>
            <a:ext cx="2281290" cy="60016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Tim </a:t>
            </a:r>
            <a:r>
              <a:rPr lang="en-US" sz="1100" b="1" dirty="0" err="1">
                <a:solidFill>
                  <a:schemeClr val="bg1"/>
                </a:solidFill>
              </a:rPr>
              <a:t>Pengadaan</a:t>
            </a:r>
            <a:r>
              <a:rPr lang="en-US" sz="1100" b="1" dirty="0">
                <a:solidFill>
                  <a:schemeClr val="bg1"/>
                </a:solidFill>
              </a:rPr>
              <a:t>:</a:t>
            </a:r>
          </a:p>
          <a:p>
            <a:pPr marL="342900" indent="-342900">
              <a:buAutoNum type="arabicPeriod"/>
            </a:pPr>
            <a:r>
              <a:rPr lang="en-US" sz="1100" b="1" dirty="0">
                <a:solidFill>
                  <a:schemeClr val="bg1"/>
                </a:solidFill>
              </a:rPr>
              <a:t>TA Senior </a:t>
            </a:r>
            <a:r>
              <a:rPr lang="en-US" sz="1100" b="1" i="1" dirty="0">
                <a:solidFill>
                  <a:schemeClr val="bg1"/>
                </a:solidFill>
              </a:rPr>
              <a:t>Procurement</a:t>
            </a:r>
          </a:p>
          <a:p>
            <a:pPr marL="342900" indent="-342900">
              <a:buAutoNum type="arabicPeriod"/>
            </a:pPr>
            <a:r>
              <a:rPr lang="en-US" sz="1100" b="1" dirty="0">
                <a:solidFill>
                  <a:schemeClr val="bg1"/>
                </a:solidFill>
              </a:rPr>
              <a:t>TA </a:t>
            </a:r>
            <a:r>
              <a:rPr lang="en-US" sz="1100" b="1" i="1" dirty="0">
                <a:solidFill>
                  <a:schemeClr val="bg1"/>
                </a:solidFill>
              </a:rPr>
              <a:t>Procuremen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10750" y="2791804"/>
            <a:ext cx="1402280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i="1" dirty="0">
                <a:solidFill>
                  <a:schemeClr val="bg1"/>
                </a:solidFill>
              </a:rPr>
              <a:t>Office Manager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7578980" y="3066001"/>
            <a:ext cx="195164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882796" y="3092816"/>
            <a:ext cx="1500591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im </a:t>
            </a:r>
            <a:r>
              <a:rPr lang="en-US" sz="1200" b="1" dirty="0" err="1">
                <a:solidFill>
                  <a:schemeClr val="bg1"/>
                </a:solidFill>
              </a:rPr>
              <a:t>Administras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788778" y="3924962"/>
            <a:ext cx="913084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Direktur</a:t>
            </a:r>
            <a:r>
              <a:rPr lang="en-US" sz="1200" b="1" dirty="0"/>
              <a:t> Finans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199466" y="3924962"/>
            <a:ext cx="927258" cy="101566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Direktur</a:t>
            </a:r>
            <a:r>
              <a:rPr lang="en-US" sz="1200" b="1" dirty="0"/>
              <a:t> </a:t>
            </a:r>
            <a:r>
              <a:rPr lang="en-US" sz="1200" b="1" dirty="0" err="1"/>
              <a:t>Proyek</a:t>
            </a:r>
            <a:r>
              <a:rPr lang="en-US" sz="1200" b="1" dirty="0"/>
              <a:t> </a:t>
            </a:r>
            <a:r>
              <a:rPr lang="en-US" sz="1200" b="1" dirty="0" err="1"/>
              <a:t>Sektor</a:t>
            </a:r>
            <a:r>
              <a:rPr lang="en-US" sz="1200" b="1" dirty="0"/>
              <a:t> </a:t>
            </a:r>
            <a:r>
              <a:rPr lang="en-US" sz="1200" b="1" dirty="0" err="1" smtClean="0"/>
              <a:t>Energi</a:t>
            </a:r>
            <a:r>
              <a:rPr lang="en-US" sz="1200" b="1" dirty="0" smtClean="0"/>
              <a:t> &amp; </a:t>
            </a:r>
            <a:r>
              <a:rPr lang="en-US" sz="1200" b="1" dirty="0" err="1" smtClean="0"/>
              <a:t>Listrik</a:t>
            </a:r>
            <a:endParaRPr lang="en-US" sz="12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5384631" y="3924962"/>
            <a:ext cx="1106268" cy="10156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Direktur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Proye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Sektor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Sumber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Daya</a:t>
            </a:r>
            <a:r>
              <a:rPr lang="en-US" sz="1200" b="1" dirty="0">
                <a:solidFill>
                  <a:schemeClr val="tx1"/>
                </a:solidFill>
              </a:rPr>
              <a:t> Ai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67945" y="3924962"/>
            <a:ext cx="1129069" cy="83099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Direktur</a:t>
            </a:r>
            <a:r>
              <a:rPr lang="en-US" sz="1200" b="1" dirty="0"/>
              <a:t> </a:t>
            </a:r>
            <a:r>
              <a:rPr lang="en-US" sz="1200" b="1" dirty="0" err="1"/>
              <a:t>Proyek</a:t>
            </a:r>
            <a:r>
              <a:rPr lang="en-US" sz="1200" b="1" dirty="0"/>
              <a:t> </a:t>
            </a:r>
            <a:r>
              <a:rPr lang="en-US" sz="1200" b="1" dirty="0" err="1"/>
              <a:t>Sektor</a:t>
            </a:r>
            <a:r>
              <a:rPr lang="en-US" sz="1200" b="1" dirty="0"/>
              <a:t> </a:t>
            </a:r>
            <a:r>
              <a:rPr lang="en-US" sz="1200" b="1" dirty="0" err="1"/>
              <a:t>Transportasi</a:t>
            </a:r>
            <a:endParaRPr lang="en-US" sz="12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7957768" y="3924962"/>
            <a:ext cx="1087381" cy="101566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Direktur</a:t>
            </a:r>
            <a:r>
              <a:rPr lang="en-US" sz="1200" b="1" dirty="0"/>
              <a:t> </a:t>
            </a:r>
            <a:r>
              <a:rPr lang="en-US" sz="1200" b="1" dirty="0" err="1"/>
              <a:t>Proyek</a:t>
            </a:r>
            <a:r>
              <a:rPr lang="en-US" sz="1200" b="1" dirty="0"/>
              <a:t> </a:t>
            </a:r>
            <a:r>
              <a:rPr lang="en-US" sz="1200" b="1" dirty="0" err="1"/>
              <a:t>Sektor</a:t>
            </a:r>
            <a:r>
              <a:rPr lang="en-US" sz="1200" b="1" dirty="0"/>
              <a:t> </a:t>
            </a:r>
            <a:r>
              <a:rPr lang="en-US" sz="1200" b="1" dirty="0" err="1"/>
              <a:t>Jalan</a:t>
            </a:r>
            <a:r>
              <a:rPr lang="en-US" sz="1200" b="1" dirty="0"/>
              <a:t> </a:t>
            </a:r>
            <a:r>
              <a:rPr lang="en-US" sz="1200" b="1" dirty="0" err="1"/>
              <a:t>dan</a:t>
            </a:r>
            <a:r>
              <a:rPr lang="en-US" sz="1200" b="1" dirty="0"/>
              <a:t> </a:t>
            </a:r>
            <a:r>
              <a:rPr lang="en-US" sz="1200" b="1" dirty="0" err="1"/>
              <a:t>Jembatan</a:t>
            </a:r>
            <a:endParaRPr lang="en-US" sz="12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612271" y="4629378"/>
            <a:ext cx="1106972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TA </a:t>
            </a:r>
            <a:r>
              <a:rPr lang="en-US" sz="1200" b="1" dirty="0" err="1"/>
              <a:t>Komunikasi</a:t>
            </a:r>
            <a:endParaRPr lang="en-US" sz="1200" b="1" dirty="0"/>
          </a:p>
        </p:txBody>
      </p:sp>
      <p:sp>
        <p:nvSpPr>
          <p:cNvPr id="30" name="Rectangle 29"/>
          <p:cNvSpPr/>
          <p:nvPr/>
        </p:nvSpPr>
        <p:spPr>
          <a:xfrm>
            <a:off x="165762" y="2129683"/>
            <a:ext cx="9587838" cy="3946376"/>
          </a:xfrm>
          <a:prstGeom prst="rect">
            <a:avLst/>
          </a:prstGeom>
          <a:noFill/>
          <a:ln w="19050" cmpd="sng">
            <a:solidFill>
              <a:schemeClr val="accent6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1399455" y="5469905"/>
            <a:ext cx="7006972" cy="51864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258688" y="5594400"/>
            <a:ext cx="5309314" cy="29238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300" b="1" dirty="0" err="1"/>
              <a:t>Konsultan</a:t>
            </a:r>
            <a:r>
              <a:rPr lang="en-US" sz="1300" b="1" dirty="0"/>
              <a:t> </a:t>
            </a:r>
            <a:r>
              <a:rPr lang="en-US" sz="1300" b="1" i="1" dirty="0"/>
              <a:t>Supporting </a:t>
            </a:r>
            <a:r>
              <a:rPr lang="en-US" sz="1300" b="1" dirty="0"/>
              <a:t>PMO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1397910" y="6178652"/>
            <a:ext cx="7006972" cy="51864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517556" y="6277429"/>
            <a:ext cx="4694649" cy="29238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300" b="1" dirty="0"/>
              <a:t>Panel </a:t>
            </a:r>
            <a:r>
              <a:rPr lang="en-US" sz="1300" b="1" dirty="0" err="1"/>
              <a:t>Konsultan</a:t>
            </a:r>
            <a:r>
              <a:rPr lang="en-US" sz="1300" b="1" dirty="0"/>
              <a:t> KPPIP </a:t>
            </a:r>
          </a:p>
        </p:txBody>
      </p:sp>
      <p:cxnSp>
        <p:nvCxnSpPr>
          <p:cNvPr id="36" name="Straight Connector 35"/>
          <p:cNvCxnSpPr/>
          <p:nvPr/>
        </p:nvCxnSpPr>
        <p:spPr>
          <a:xfrm flipH="1">
            <a:off x="2508174" y="3057765"/>
            <a:ext cx="5068730" cy="8898"/>
          </a:xfrm>
          <a:prstGeom prst="line">
            <a:avLst/>
          </a:prstGeom>
          <a:ln>
            <a:solidFill>
              <a:srgbClr val="E46C0A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 flipV="1">
            <a:off x="1175762" y="3569720"/>
            <a:ext cx="7320459" cy="6715"/>
          </a:xfrm>
          <a:prstGeom prst="line">
            <a:avLst/>
          </a:prstGeom>
          <a:ln>
            <a:solidFill>
              <a:srgbClr val="E46C0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/>
          <p:nvPr/>
        </p:nvCxnSpPr>
        <p:spPr>
          <a:xfrm rot="16200000" flipH="1">
            <a:off x="3321171" y="3719491"/>
            <a:ext cx="304172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/>
          <p:nvPr/>
        </p:nvCxnSpPr>
        <p:spPr>
          <a:xfrm rot="16200000" flipH="1">
            <a:off x="7105063" y="3709308"/>
            <a:ext cx="267596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/>
          <p:nvPr/>
        </p:nvCxnSpPr>
        <p:spPr>
          <a:xfrm rot="16200000" flipH="1">
            <a:off x="8361497" y="3697119"/>
            <a:ext cx="267596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/>
          <p:nvPr/>
        </p:nvCxnSpPr>
        <p:spPr>
          <a:xfrm rot="16200000" flipH="1">
            <a:off x="2122638" y="3701205"/>
            <a:ext cx="267596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548640" y="894208"/>
            <a:ext cx="88620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KPPIP </a:t>
            </a:r>
            <a:r>
              <a:rPr lang="en-US" sz="1400" b="1" dirty="0" err="1"/>
              <a:t>telah</a:t>
            </a:r>
            <a:r>
              <a:rPr lang="en-US" sz="1400" b="1" dirty="0"/>
              <a:t> </a:t>
            </a:r>
            <a:r>
              <a:rPr lang="en-US" sz="1400" b="1" dirty="0" err="1"/>
              <a:t>dilengkapi</a:t>
            </a:r>
            <a:r>
              <a:rPr lang="en-US" sz="1400" b="1" dirty="0"/>
              <a:t> </a:t>
            </a:r>
            <a:r>
              <a:rPr lang="en-US" sz="1400" b="1" dirty="0" err="1"/>
              <a:t>dengan</a:t>
            </a:r>
            <a:r>
              <a:rPr lang="en-US" sz="1400" b="1" dirty="0"/>
              <a:t> </a:t>
            </a:r>
            <a:r>
              <a:rPr lang="en-US" sz="1400" b="1" i="1" dirty="0"/>
              <a:t>Project Management Office </a:t>
            </a:r>
            <a:r>
              <a:rPr lang="en-US" sz="1400" b="1" dirty="0"/>
              <a:t>(PMO) yang </a:t>
            </a:r>
            <a:r>
              <a:rPr lang="en-US" sz="1400" b="1" dirty="0" err="1"/>
              <a:t>bekerja</a:t>
            </a:r>
            <a:r>
              <a:rPr lang="en-US" sz="1400" b="1" dirty="0"/>
              <a:t> </a:t>
            </a:r>
            <a:r>
              <a:rPr lang="en-US" sz="1400" b="1" dirty="0" err="1"/>
              <a:t>penuh</a:t>
            </a:r>
            <a:r>
              <a:rPr lang="en-US" sz="1400" b="1" dirty="0"/>
              <a:t> </a:t>
            </a:r>
            <a:r>
              <a:rPr lang="en-US" sz="1400" b="1" dirty="0" err="1"/>
              <a:t>waktu</a:t>
            </a:r>
            <a:r>
              <a:rPr lang="en-US" sz="1400" b="1" dirty="0"/>
              <a:t> </a:t>
            </a:r>
            <a:r>
              <a:rPr lang="en-US" sz="1400" b="1" dirty="0" err="1"/>
              <a:t>sebagai</a:t>
            </a:r>
            <a:r>
              <a:rPr lang="en-US" sz="1400" b="1" dirty="0"/>
              <a:t> ‘</a:t>
            </a:r>
            <a:r>
              <a:rPr lang="en-US" sz="1400" b="1" dirty="0" err="1"/>
              <a:t>dapur</a:t>
            </a:r>
            <a:r>
              <a:rPr lang="en-US" sz="1400" b="1" dirty="0"/>
              <a:t>’ </a:t>
            </a:r>
            <a:r>
              <a:rPr lang="en-US" sz="1400" b="1" dirty="0" err="1"/>
              <a:t>pengambilan</a:t>
            </a:r>
            <a:r>
              <a:rPr lang="en-US" sz="1400" b="1" dirty="0"/>
              <a:t> </a:t>
            </a:r>
            <a:r>
              <a:rPr lang="en-US" sz="1400" b="1" dirty="0" err="1"/>
              <a:t>keputusan</a:t>
            </a:r>
            <a:r>
              <a:rPr lang="en-US" sz="1400" b="1" dirty="0"/>
              <a:t> di </a:t>
            </a:r>
            <a:r>
              <a:rPr lang="en-US" sz="1400" b="1" dirty="0" err="1"/>
              <a:t>tingkat</a:t>
            </a:r>
            <a:r>
              <a:rPr lang="en-US" sz="1400" b="1" dirty="0"/>
              <a:t> Tim </a:t>
            </a:r>
            <a:r>
              <a:rPr lang="en-US" sz="1400" b="1" dirty="0" err="1"/>
              <a:t>Pelaksana</a:t>
            </a:r>
            <a:r>
              <a:rPr lang="en-US" sz="1400" b="1" dirty="0"/>
              <a:t> </a:t>
            </a:r>
            <a:r>
              <a:rPr lang="en-US" sz="1400" b="1" dirty="0" err="1" smtClean="0"/>
              <a:t>dan</a:t>
            </a:r>
            <a:r>
              <a:rPr lang="en-US" sz="1400" b="1" dirty="0" smtClean="0"/>
              <a:t>/</a:t>
            </a:r>
            <a:r>
              <a:rPr lang="en-US" sz="1400" b="1" dirty="0" err="1" smtClean="0"/>
              <a:t>atau</a:t>
            </a:r>
            <a:r>
              <a:rPr lang="en-US" sz="1400" b="1" dirty="0" smtClean="0"/>
              <a:t> </a:t>
            </a:r>
            <a:r>
              <a:rPr lang="en-US" sz="1400" b="1" dirty="0" err="1"/>
              <a:t>Komite</a:t>
            </a:r>
            <a:r>
              <a:rPr lang="en-US" sz="1400" b="1" dirty="0"/>
              <a:t> (</a:t>
            </a:r>
            <a:r>
              <a:rPr lang="en-US" sz="1400" b="1" dirty="0" err="1"/>
              <a:t>tingkat</a:t>
            </a:r>
            <a:r>
              <a:rPr lang="en-US" sz="1400" b="1" dirty="0"/>
              <a:t> </a:t>
            </a:r>
            <a:r>
              <a:rPr lang="en-US" sz="1400" b="1" dirty="0" err="1"/>
              <a:t>Menteri</a:t>
            </a:r>
            <a:r>
              <a:rPr lang="en-US" sz="1400" b="1" dirty="0"/>
              <a:t>).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822652" y="3924962"/>
            <a:ext cx="1241622" cy="6463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</a:rPr>
              <a:t>Direktur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Sumber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Daya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Manusia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56" name="Elbow Connector 55"/>
          <p:cNvCxnSpPr>
            <a:stCxn id="11" idx="2"/>
          </p:cNvCxnSpPr>
          <p:nvPr/>
        </p:nvCxnSpPr>
        <p:spPr>
          <a:xfrm rot="5400000">
            <a:off x="4304343" y="3169743"/>
            <a:ext cx="1064628" cy="347123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0" idx="2"/>
            <a:endCxn id="11" idx="0"/>
          </p:cNvCxnSpPr>
          <p:nvPr/>
        </p:nvCxnSpPr>
        <p:spPr>
          <a:xfrm>
            <a:off x="5004852" y="2038116"/>
            <a:ext cx="5366" cy="276741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269666" y="1906526"/>
            <a:ext cx="1022124" cy="473485"/>
          </a:xfrm>
          <a:prstGeom prst="roundRect">
            <a:avLst>
              <a:gd name="adj" fmla="val 50000"/>
            </a:avLst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latin typeface="Arial" pitchFamily="34" charset="0"/>
                <a:cs typeface="Arial" pitchFamily="34" charset="0"/>
              </a:rPr>
              <a:t>PMO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925429" y="4807486"/>
            <a:ext cx="1106972" cy="646331"/>
            <a:chOff x="-1756233" y="2995805"/>
            <a:chExt cx="1106972" cy="646331"/>
          </a:xfrm>
        </p:grpSpPr>
        <p:sp>
          <p:nvSpPr>
            <p:cNvPr id="48" name="Rounded Rectangle 47"/>
            <p:cNvSpPr/>
            <p:nvPr/>
          </p:nvSpPr>
          <p:spPr>
            <a:xfrm>
              <a:off x="-1692642" y="3007928"/>
              <a:ext cx="976961" cy="62145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-1756233" y="2995805"/>
              <a:ext cx="1106972" cy="6463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TA </a:t>
              </a:r>
              <a:r>
                <a:rPr lang="en-US" sz="1200" b="1" dirty="0" err="1" smtClean="0"/>
                <a:t>Pengem-bangan</a:t>
              </a:r>
              <a:r>
                <a:rPr lang="en-US" sz="1200" b="1" dirty="0" smtClean="0"/>
                <a:t> </a:t>
              </a:r>
              <a:r>
                <a:rPr lang="en-US" sz="1200" b="1" dirty="0" err="1" smtClean="0"/>
                <a:t>Kapasitas</a:t>
              </a:r>
              <a:endParaRPr lang="en-US" sz="1200" b="1" dirty="0"/>
            </a:p>
          </p:txBody>
        </p:sp>
      </p:grpSp>
      <p:cxnSp>
        <p:nvCxnSpPr>
          <p:cNvPr id="58" name="Elbow Connector 57"/>
          <p:cNvCxnSpPr/>
          <p:nvPr/>
        </p:nvCxnSpPr>
        <p:spPr>
          <a:xfrm rot="16200000" flipH="1">
            <a:off x="5802163" y="3702948"/>
            <a:ext cx="267596" cy="1851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77"/>
          <p:cNvCxnSpPr/>
          <p:nvPr/>
        </p:nvCxnSpPr>
        <p:spPr>
          <a:xfrm rot="16200000" flipH="1">
            <a:off x="673786" y="4065707"/>
            <a:ext cx="1009322" cy="1854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384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 bwMode="auto">
          <a:xfrm>
            <a:off x="582414" y="4804732"/>
            <a:ext cx="8828286" cy="398810"/>
          </a:xfrm>
          <a:prstGeom prst="rect">
            <a:avLst/>
          </a:prstGeom>
          <a:solidFill>
            <a:schemeClr val="accent6">
              <a:lumMod val="75000"/>
            </a:schemeClr>
          </a:solidFill>
          <a:effectLst/>
        </p:spPr>
        <p:txBody>
          <a:bodyPr wrap="square">
            <a:spAutoFit/>
          </a:bodyPr>
          <a:lstStyle/>
          <a:p>
            <a:pPr defTabSz="914400">
              <a:defRPr/>
            </a:pPr>
            <a:endParaRPr lang="en-US" sz="1200" kern="0" dirty="0">
              <a:solidFill>
                <a:srgbClr val="FFFFFF"/>
              </a:solidFill>
              <a:ea typeface="ＭＳ Ｐゴシック" charset="-128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2349"/>
            <a:ext cx="8915400" cy="723861"/>
          </a:xfrm>
        </p:spPr>
        <p:txBody>
          <a:bodyPr/>
          <a:lstStyle/>
          <a:p>
            <a:r>
              <a:rPr lang="id-ID" sz="2000" dirty="0" smtClean="0"/>
              <a:t>Selain proyek prioritas, KPPIP turut berperan dalam memantau dan mengevaluasi Proyek Strategis Nasional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235301" y="902809"/>
            <a:ext cx="8073580" cy="4114860"/>
            <a:chOff x="1235301" y="952945"/>
            <a:chExt cx="8073580" cy="4114860"/>
          </a:xfrm>
        </p:grpSpPr>
        <p:sp>
          <p:nvSpPr>
            <p:cNvPr id="47" name="TextBox 46"/>
            <p:cNvSpPr txBox="1"/>
            <p:nvPr/>
          </p:nvSpPr>
          <p:spPr bwMode="auto">
            <a:xfrm>
              <a:off x="3258827" y="1067577"/>
              <a:ext cx="6050054" cy="36255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effectLst/>
          </p:spPr>
          <p:txBody>
            <a:bodyPr wrap="square">
              <a:spAutoFit/>
            </a:bodyPr>
            <a:lstStyle/>
            <a:p>
              <a:pPr defTabSz="914400">
                <a:defRPr/>
              </a:pPr>
              <a:endParaRPr lang="en-US" sz="1200" kern="0" dirty="0">
                <a:solidFill>
                  <a:srgbClr val="FFFFFF"/>
                </a:solidFill>
                <a:ea typeface="ＭＳ Ｐゴシック" charset="-128"/>
                <a:cs typeface="Arial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1235301" y="952945"/>
              <a:ext cx="8065952" cy="4114860"/>
              <a:chOff x="543982" y="1372388"/>
              <a:chExt cx="9004993" cy="4522511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8802728" y="1933283"/>
                <a:ext cx="746247" cy="713377"/>
              </a:xfrm>
              <a:prstGeom prst="ellipse">
                <a:avLst/>
              </a:prstGeom>
              <a:solidFill>
                <a:srgbClr val="31859C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7866009" y="2652119"/>
                <a:ext cx="1000905" cy="918079"/>
              </a:xfrm>
              <a:prstGeom prst="ellipse">
                <a:avLst/>
              </a:prstGeom>
              <a:solidFill>
                <a:srgbClr val="5F497B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7046808" y="3557442"/>
                <a:ext cx="1575386" cy="1701356"/>
              </a:xfrm>
              <a:prstGeom prst="ellipse">
                <a:avLst/>
              </a:prstGeom>
              <a:solidFill>
                <a:srgbClr val="953635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277158" y="1909348"/>
                <a:ext cx="5936132" cy="74286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759626" y="1468188"/>
                <a:ext cx="4156592" cy="403977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719733" y="2633313"/>
                <a:ext cx="4733919" cy="944918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1299839" y="2353768"/>
                <a:ext cx="3248825" cy="317887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495300" dist="38100" dir="16200000" sx="104000" sy="104000" rotWithShape="0">
                  <a:prstClr val="black">
                    <a:alpha val="2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3277157" y="3556039"/>
                <a:ext cx="4602754" cy="1715424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1729640" y="3096795"/>
                <a:ext cx="2419485" cy="243624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95300" dist="38100" dir="16200000" sx="104000" sy="104000" rotWithShape="0">
                  <a:prstClr val="black">
                    <a:alpha val="2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 err="1" smtClean="0"/>
                  <a:t>Proyek</a:t>
                </a:r>
                <a:r>
                  <a:rPr lang="en-US" sz="1600" b="1" dirty="0" smtClean="0"/>
                  <a:t> </a:t>
                </a:r>
                <a:r>
                  <a:rPr lang="en-US" sz="1600" b="1" dirty="0" err="1" smtClean="0"/>
                  <a:t>Prioritas</a:t>
                </a:r>
                <a:endParaRPr lang="en-US" sz="1600" b="1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938087" y="1909348"/>
                <a:ext cx="3886200" cy="708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/>
                    </a:solidFill>
                  </a:rPr>
                  <a:t>KPPIP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membagikan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pembelajaran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penyiapan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dan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i="1" dirty="0" smtClean="0">
                    <a:solidFill>
                      <a:schemeClr val="bg1"/>
                    </a:solidFill>
                  </a:rPr>
                  <a:t>debottlenecking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pada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K/L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untuk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diterapkan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pada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proyek-proyek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tersebut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. </a:t>
                </a: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4661974" y="2755106"/>
                <a:ext cx="3647651" cy="708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solidFill>
                      <a:srgbClr val="FFFFFF"/>
                    </a:solidFill>
                  </a:rPr>
                  <a:t>KPPIP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melakuk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emantau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atas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kemaju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royek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d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melaksanak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usaha</a:t>
                </a:r>
                <a:r>
                  <a:rPr lang="en-US" sz="1200" i="1" dirty="0" smtClean="0">
                    <a:solidFill>
                      <a:srgbClr val="FFFFFF"/>
                    </a:solidFill>
                  </a:rPr>
                  <a:t> debottlenecking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ada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skala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nasional</a:t>
                </a:r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4419361" y="3682720"/>
                <a:ext cx="3595909" cy="15222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solidFill>
                      <a:srgbClr val="FFFFFF"/>
                    </a:solidFill>
                  </a:rPr>
                  <a:t>KPPIP </a:t>
                </a:r>
                <a:r>
                  <a:rPr lang="id-ID" sz="1200" dirty="0" smtClean="0">
                    <a:solidFill>
                      <a:srgbClr val="FFFFFF"/>
                    </a:solidFill>
                  </a:rPr>
                  <a:t>berpartisipasi secara aktif dalam pencapaian implementasi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royek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rioritas</a:t>
                </a:r>
                <a:r>
                  <a:rPr lang="id-ID" sz="1200" dirty="0" smtClean="0">
                    <a:solidFill>
                      <a:srgbClr val="FFFFFF"/>
                    </a:solidFill>
                  </a:rPr>
                  <a:t>, sejak tahap penyiapan hingga tahap operasi &amp; pemelihara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.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royek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rioritas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ak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mendapat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fasilitas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khusus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yang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dapat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diberik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oleh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KPPIP (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contoh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: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penyiap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 OBC, AMDAL, panel </a:t>
                </a:r>
                <a:r>
                  <a:rPr lang="en-US" sz="1200" dirty="0" err="1" smtClean="0">
                    <a:solidFill>
                      <a:srgbClr val="FFFFFF"/>
                    </a:solidFill>
                  </a:rPr>
                  <a:t>konsultan</a:t>
                </a:r>
                <a:r>
                  <a:rPr lang="en-US" sz="1200" dirty="0" smtClean="0">
                    <a:solidFill>
                      <a:srgbClr val="FFFFFF"/>
                    </a:solidFill>
                  </a:rPr>
                  <a:t>).</a:t>
                </a:r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794837" y="1510012"/>
                <a:ext cx="5502069" cy="372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 smtClean="0">
                    <a:solidFill>
                      <a:srgbClr val="FFFFFF"/>
                    </a:solidFill>
                  </a:rPr>
                  <a:t>PERAN KPPIP</a:t>
                </a:r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955496" y="2111562"/>
                <a:ext cx="3880528" cy="3496760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95300" dist="38100" dir="16200000" sx="104000" sy="104000" rotWithShape="0">
                  <a:prstClr val="black">
                    <a:alpha val="2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en-US" sz="1600" b="1" dirty="0" err="1" smtClean="0">
                    <a:solidFill>
                      <a:srgbClr val="FFFFFF"/>
                    </a:solidFill>
                  </a:rPr>
                  <a:t>Proyek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600" b="1" dirty="0" err="1" smtClean="0">
                    <a:solidFill>
                      <a:srgbClr val="FFFFFF"/>
                    </a:solidFill>
                  </a:rPr>
                  <a:t>Strategis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600" b="1" dirty="0" err="1" smtClean="0">
                    <a:solidFill>
                      <a:srgbClr val="FFFFFF"/>
                    </a:solidFill>
                  </a:rPr>
                  <a:t>Nasional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(PSN)</a:t>
                </a:r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/>
              <p:cNvSpPr/>
              <p:nvPr/>
            </p:nvSpPr>
            <p:spPr>
              <a:xfrm>
                <a:off x="543982" y="1372388"/>
                <a:ext cx="4508163" cy="4522511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95300" dist="38100" dir="16200000" sx="104000" sy="104000" rotWithShape="0">
                  <a:prstClr val="black">
                    <a:alpha val="2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en-US" sz="1600" b="1" dirty="0" err="1" smtClean="0">
                    <a:solidFill>
                      <a:srgbClr val="FFFFFF"/>
                    </a:solidFill>
                  </a:rPr>
                  <a:t>Proyek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RPJMN (</a:t>
                </a:r>
                <a:r>
                  <a:rPr lang="en-US" sz="1600" b="1" dirty="0" err="1" smtClean="0">
                    <a:solidFill>
                      <a:srgbClr val="FFFFFF"/>
                    </a:solidFill>
                  </a:rPr>
                  <a:t>Kemenko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600" b="1" dirty="0" err="1" smtClean="0">
                    <a:solidFill>
                      <a:srgbClr val="FFFFFF"/>
                    </a:solidFill>
                  </a:rPr>
                  <a:t>Maritim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,</a:t>
                </a:r>
              </a:p>
              <a:p>
                <a:pPr algn="ctr"/>
                <a:r>
                  <a:rPr lang="en-US" sz="1600" b="1" dirty="0" err="1" smtClean="0">
                    <a:solidFill>
                      <a:srgbClr val="FFFFFF"/>
                    </a:solidFill>
                  </a:rPr>
                  <a:t>Kemenko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n-US" sz="1600" b="1" dirty="0" err="1" smtClean="0">
                    <a:solidFill>
                      <a:srgbClr val="FFFFFF"/>
                    </a:solidFill>
                  </a:rPr>
                  <a:t>Ekon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, K/L)</a:t>
                </a:r>
              </a:p>
            </p:txBody>
          </p:sp>
        </p:grpSp>
      </p:grpSp>
      <p:cxnSp>
        <p:nvCxnSpPr>
          <p:cNvPr id="20" name="Straight Connector 19"/>
          <p:cNvCxnSpPr/>
          <p:nvPr/>
        </p:nvCxnSpPr>
        <p:spPr bwMode="auto">
          <a:xfrm>
            <a:off x="3471647" y="4981790"/>
            <a:ext cx="454715" cy="404191"/>
          </a:xfrm>
          <a:prstGeom prst="line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6611314" y="5850992"/>
            <a:ext cx="28307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Evaluasi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Daftar</a:t>
            </a:r>
            <a:r>
              <a:rPr lang="en-US" sz="1200" b="1" dirty="0">
                <a:solidFill>
                  <a:srgbClr val="000000"/>
                </a:solidFill>
              </a:rPr>
              <a:t> PSN</a:t>
            </a:r>
          </a:p>
          <a:p>
            <a:pPr algn="ctr"/>
            <a:r>
              <a:rPr lang="en-US" sz="1200" dirty="0" err="1">
                <a:solidFill>
                  <a:srgbClr val="000000"/>
                </a:solidFill>
              </a:rPr>
              <a:t>Evaluas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kemajua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oyek-proyek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enambahan</a:t>
            </a:r>
            <a:r>
              <a:rPr lang="en-US" sz="1200" dirty="0">
                <a:solidFill>
                  <a:srgbClr val="000000"/>
                </a:solidFill>
              </a:rPr>
              <a:t>/</a:t>
            </a:r>
            <a:r>
              <a:rPr lang="en-US" sz="1200" dirty="0" err="1">
                <a:solidFill>
                  <a:srgbClr val="000000"/>
                </a:solidFill>
              </a:rPr>
              <a:t>penguranga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fta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oyek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esua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kriteria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85054" y="5850992"/>
            <a:ext cx="29975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Pemantauan</a:t>
            </a:r>
            <a:r>
              <a:rPr lang="en-US" sz="1200" b="1" dirty="0"/>
              <a:t> </a:t>
            </a:r>
            <a:r>
              <a:rPr lang="en-US" sz="1200" b="1" dirty="0" err="1"/>
              <a:t>Proyek</a:t>
            </a:r>
            <a:endParaRPr lang="en-US" sz="1200" b="1" dirty="0"/>
          </a:p>
          <a:p>
            <a:pPr algn="ctr"/>
            <a:r>
              <a:rPr lang="en-US" sz="1200" dirty="0" err="1"/>
              <a:t>dilakukan</a:t>
            </a:r>
            <a:r>
              <a:rPr lang="en-US" sz="1200" dirty="0"/>
              <a:t> </a:t>
            </a:r>
            <a:r>
              <a:rPr lang="en-US" sz="1200" dirty="0" err="1"/>
              <a:t>secara</a:t>
            </a:r>
            <a:r>
              <a:rPr lang="en-US" sz="1200" dirty="0"/>
              <a:t> </a:t>
            </a:r>
            <a:r>
              <a:rPr lang="en-US" sz="1200" dirty="0" err="1"/>
              <a:t>efisien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efektif</a:t>
            </a:r>
            <a:r>
              <a:rPr lang="en-US" sz="1200" dirty="0"/>
              <a:t> </a:t>
            </a:r>
            <a:r>
              <a:rPr lang="en-US" sz="1200" dirty="0" err="1"/>
              <a:t>melalui</a:t>
            </a:r>
            <a:r>
              <a:rPr lang="en-US" sz="1200" dirty="0"/>
              <a:t> </a:t>
            </a:r>
            <a:r>
              <a:rPr lang="en-US" sz="1200" dirty="0" err="1"/>
              <a:t>sistem</a:t>
            </a:r>
            <a:r>
              <a:rPr lang="en-US" sz="1200" dirty="0"/>
              <a:t> TI KPPIP </a:t>
            </a:r>
          </a:p>
          <a:p>
            <a:pPr algn="ctr"/>
            <a:endParaRPr 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526660" y="5850992"/>
            <a:ext cx="3127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/>
              <a:t>Koordinasi</a:t>
            </a:r>
            <a:endParaRPr lang="en-US" sz="1200" b="1" dirty="0"/>
          </a:p>
          <a:p>
            <a:pPr algn="ctr"/>
            <a:r>
              <a:rPr lang="en-US" sz="1200" dirty="0" err="1"/>
              <a:t>dengan</a:t>
            </a:r>
            <a:r>
              <a:rPr lang="en-US" sz="1200" dirty="0"/>
              <a:t> </a:t>
            </a:r>
            <a:r>
              <a:rPr lang="en-US" sz="1200" dirty="0" err="1"/>
              <a:t>pemangku</a:t>
            </a:r>
            <a:r>
              <a:rPr lang="en-US" sz="1200" dirty="0"/>
              <a:t> </a:t>
            </a:r>
            <a:r>
              <a:rPr lang="en-US" sz="1200" dirty="0" err="1"/>
              <a:t>kepentingan</a:t>
            </a:r>
            <a:r>
              <a:rPr lang="en-US" sz="1200" dirty="0"/>
              <a:t> </a:t>
            </a:r>
            <a:r>
              <a:rPr lang="en-US" sz="1200" dirty="0" err="1"/>
              <a:t>dalam</a:t>
            </a:r>
            <a:r>
              <a:rPr lang="en-US" sz="1200" dirty="0"/>
              <a:t> </a:t>
            </a:r>
            <a:r>
              <a:rPr lang="en-US" sz="1200" dirty="0" err="1"/>
              <a:t>upaya</a:t>
            </a:r>
            <a:r>
              <a:rPr lang="en-US" sz="1200" dirty="0"/>
              <a:t> </a:t>
            </a:r>
            <a:r>
              <a:rPr lang="en-US" sz="1200" i="1" dirty="0"/>
              <a:t>debottleneck </a:t>
            </a:r>
            <a:r>
              <a:rPr lang="en-US" sz="1200" dirty="0" err="1"/>
              <a:t>pelaksanaan</a:t>
            </a:r>
            <a:r>
              <a:rPr lang="en-US" sz="1200" dirty="0"/>
              <a:t> PSN</a:t>
            </a:r>
          </a:p>
        </p:txBody>
      </p:sp>
      <p:grpSp>
        <p:nvGrpSpPr>
          <p:cNvPr id="24" name="Group 9"/>
          <p:cNvGrpSpPr>
            <a:grpSpLocks noChangeAspect="1"/>
          </p:cNvGrpSpPr>
          <p:nvPr/>
        </p:nvGrpSpPr>
        <p:grpSpPr bwMode="auto">
          <a:xfrm>
            <a:off x="1804109" y="5360439"/>
            <a:ext cx="556733" cy="386935"/>
            <a:chOff x="2616" y="2934"/>
            <a:chExt cx="541" cy="376"/>
          </a:xfrm>
          <a:solidFill>
            <a:schemeClr val="accent2">
              <a:lumMod val="75000"/>
            </a:schemeClr>
          </a:solidFill>
        </p:grpSpPr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2825" y="2942"/>
              <a:ext cx="123" cy="122"/>
            </a:xfrm>
            <a:custGeom>
              <a:avLst/>
              <a:gdLst>
                <a:gd name="T0" fmla="*/ 429 w 860"/>
                <a:gd name="T1" fmla="*/ 0 h 857"/>
                <a:gd name="T2" fmla="*/ 484 w 860"/>
                <a:gd name="T3" fmla="*/ 4 h 857"/>
                <a:gd name="T4" fmla="*/ 536 w 860"/>
                <a:gd name="T5" fmla="*/ 13 h 857"/>
                <a:gd name="T6" fmla="*/ 585 w 860"/>
                <a:gd name="T7" fmla="*/ 29 h 857"/>
                <a:gd name="T8" fmla="*/ 632 w 860"/>
                <a:gd name="T9" fmla="*/ 51 h 857"/>
                <a:gd name="T10" fmla="*/ 675 w 860"/>
                <a:gd name="T11" fmla="*/ 78 h 857"/>
                <a:gd name="T12" fmla="*/ 715 w 860"/>
                <a:gd name="T13" fmla="*/ 109 h 857"/>
                <a:gd name="T14" fmla="*/ 751 w 860"/>
                <a:gd name="T15" fmla="*/ 145 h 857"/>
                <a:gd name="T16" fmla="*/ 783 w 860"/>
                <a:gd name="T17" fmla="*/ 184 h 857"/>
                <a:gd name="T18" fmla="*/ 809 w 860"/>
                <a:gd name="T19" fmla="*/ 228 h 857"/>
                <a:gd name="T20" fmla="*/ 831 w 860"/>
                <a:gd name="T21" fmla="*/ 274 h 857"/>
                <a:gd name="T22" fmla="*/ 846 w 860"/>
                <a:gd name="T23" fmla="*/ 323 h 857"/>
                <a:gd name="T24" fmla="*/ 857 w 860"/>
                <a:gd name="T25" fmla="*/ 375 h 857"/>
                <a:gd name="T26" fmla="*/ 860 w 860"/>
                <a:gd name="T27" fmla="*/ 428 h 857"/>
                <a:gd name="T28" fmla="*/ 857 w 860"/>
                <a:gd name="T29" fmla="*/ 483 h 857"/>
                <a:gd name="T30" fmla="*/ 846 w 860"/>
                <a:gd name="T31" fmla="*/ 535 h 857"/>
                <a:gd name="T32" fmla="*/ 831 w 860"/>
                <a:gd name="T33" fmla="*/ 583 h 857"/>
                <a:gd name="T34" fmla="*/ 809 w 860"/>
                <a:gd name="T35" fmla="*/ 630 h 857"/>
                <a:gd name="T36" fmla="*/ 783 w 860"/>
                <a:gd name="T37" fmla="*/ 673 h 857"/>
                <a:gd name="T38" fmla="*/ 751 w 860"/>
                <a:gd name="T39" fmla="*/ 714 h 857"/>
                <a:gd name="T40" fmla="*/ 715 w 860"/>
                <a:gd name="T41" fmla="*/ 749 h 857"/>
                <a:gd name="T42" fmla="*/ 675 w 860"/>
                <a:gd name="T43" fmla="*/ 780 h 857"/>
                <a:gd name="T44" fmla="*/ 632 w 860"/>
                <a:gd name="T45" fmla="*/ 807 h 857"/>
                <a:gd name="T46" fmla="*/ 585 w 860"/>
                <a:gd name="T47" fmla="*/ 828 h 857"/>
                <a:gd name="T48" fmla="*/ 536 w 860"/>
                <a:gd name="T49" fmla="*/ 844 h 857"/>
                <a:gd name="T50" fmla="*/ 484 w 860"/>
                <a:gd name="T51" fmla="*/ 854 h 857"/>
                <a:gd name="T52" fmla="*/ 429 w 860"/>
                <a:gd name="T53" fmla="*/ 857 h 857"/>
                <a:gd name="T54" fmla="*/ 376 w 860"/>
                <a:gd name="T55" fmla="*/ 854 h 857"/>
                <a:gd name="T56" fmla="*/ 324 w 860"/>
                <a:gd name="T57" fmla="*/ 844 h 857"/>
                <a:gd name="T58" fmla="*/ 274 w 860"/>
                <a:gd name="T59" fmla="*/ 828 h 857"/>
                <a:gd name="T60" fmla="*/ 228 w 860"/>
                <a:gd name="T61" fmla="*/ 807 h 857"/>
                <a:gd name="T62" fmla="*/ 184 w 860"/>
                <a:gd name="T63" fmla="*/ 780 h 857"/>
                <a:gd name="T64" fmla="*/ 144 w 860"/>
                <a:gd name="T65" fmla="*/ 749 h 857"/>
                <a:gd name="T66" fmla="*/ 108 w 860"/>
                <a:gd name="T67" fmla="*/ 714 h 857"/>
                <a:gd name="T68" fmla="*/ 77 w 860"/>
                <a:gd name="T69" fmla="*/ 673 h 857"/>
                <a:gd name="T70" fmla="*/ 51 w 860"/>
                <a:gd name="T71" fmla="*/ 630 h 857"/>
                <a:gd name="T72" fmla="*/ 29 w 860"/>
                <a:gd name="T73" fmla="*/ 584 h 857"/>
                <a:gd name="T74" fmla="*/ 12 w 860"/>
                <a:gd name="T75" fmla="*/ 535 h 857"/>
                <a:gd name="T76" fmla="*/ 3 w 860"/>
                <a:gd name="T77" fmla="*/ 483 h 857"/>
                <a:gd name="T78" fmla="*/ 0 w 860"/>
                <a:gd name="T79" fmla="*/ 428 h 857"/>
                <a:gd name="T80" fmla="*/ 3 w 860"/>
                <a:gd name="T81" fmla="*/ 375 h 857"/>
                <a:gd name="T82" fmla="*/ 12 w 860"/>
                <a:gd name="T83" fmla="*/ 323 h 857"/>
                <a:gd name="T84" fmla="*/ 29 w 860"/>
                <a:gd name="T85" fmla="*/ 274 h 857"/>
                <a:gd name="T86" fmla="*/ 51 w 860"/>
                <a:gd name="T87" fmla="*/ 228 h 857"/>
                <a:gd name="T88" fmla="*/ 77 w 860"/>
                <a:gd name="T89" fmla="*/ 184 h 857"/>
                <a:gd name="T90" fmla="*/ 108 w 860"/>
                <a:gd name="T91" fmla="*/ 145 h 857"/>
                <a:gd name="T92" fmla="*/ 144 w 860"/>
                <a:gd name="T93" fmla="*/ 109 h 857"/>
                <a:gd name="T94" fmla="*/ 184 w 860"/>
                <a:gd name="T95" fmla="*/ 78 h 857"/>
                <a:gd name="T96" fmla="*/ 228 w 860"/>
                <a:gd name="T97" fmla="*/ 51 h 857"/>
                <a:gd name="T98" fmla="*/ 274 w 860"/>
                <a:gd name="T99" fmla="*/ 29 h 857"/>
                <a:gd name="T100" fmla="*/ 324 w 860"/>
                <a:gd name="T101" fmla="*/ 13 h 857"/>
                <a:gd name="T102" fmla="*/ 376 w 860"/>
                <a:gd name="T103" fmla="*/ 4 h 857"/>
                <a:gd name="T104" fmla="*/ 429 w 860"/>
                <a:gd name="T105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0" h="857">
                  <a:moveTo>
                    <a:pt x="429" y="0"/>
                  </a:moveTo>
                  <a:lnTo>
                    <a:pt x="484" y="4"/>
                  </a:lnTo>
                  <a:lnTo>
                    <a:pt x="536" y="13"/>
                  </a:lnTo>
                  <a:lnTo>
                    <a:pt x="585" y="29"/>
                  </a:lnTo>
                  <a:lnTo>
                    <a:pt x="632" y="51"/>
                  </a:lnTo>
                  <a:lnTo>
                    <a:pt x="675" y="78"/>
                  </a:lnTo>
                  <a:lnTo>
                    <a:pt x="715" y="109"/>
                  </a:lnTo>
                  <a:lnTo>
                    <a:pt x="751" y="145"/>
                  </a:lnTo>
                  <a:lnTo>
                    <a:pt x="783" y="184"/>
                  </a:lnTo>
                  <a:lnTo>
                    <a:pt x="809" y="228"/>
                  </a:lnTo>
                  <a:lnTo>
                    <a:pt x="831" y="274"/>
                  </a:lnTo>
                  <a:lnTo>
                    <a:pt x="846" y="323"/>
                  </a:lnTo>
                  <a:lnTo>
                    <a:pt x="857" y="375"/>
                  </a:lnTo>
                  <a:lnTo>
                    <a:pt x="860" y="428"/>
                  </a:lnTo>
                  <a:lnTo>
                    <a:pt x="857" y="483"/>
                  </a:lnTo>
                  <a:lnTo>
                    <a:pt x="846" y="535"/>
                  </a:lnTo>
                  <a:lnTo>
                    <a:pt x="831" y="583"/>
                  </a:lnTo>
                  <a:lnTo>
                    <a:pt x="809" y="630"/>
                  </a:lnTo>
                  <a:lnTo>
                    <a:pt x="783" y="673"/>
                  </a:lnTo>
                  <a:lnTo>
                    <a:pt x="751" y="714"/>
                  </a:lnTo>
                  <a:lnTo>
                    <a:pt x="715" y="749"/>
                  </a:lnTo>
                  <a:lnTo>
                    <a:pt x="675" y="780"/>
                  </a:lnTo>
                  <a:lnTo>
                    <a:pt x="632" y="807"/>
                  </a:lnTo>
                  <a:lnTo>
                    <a:pt x="585" y="828"/>
                  </a:lnTo>
                  <a:lnTo>
                    <a:pt x="536" y="844"/>
                  </a:lnTo>
                  <a:lnTo>
                    <a:pt x="484" y="854"/>
                  </a:lnTo>
                  <a:lnTo>
                    <a:pt x="429" y="857"/>
                  </a:lnTo>
                  <a:lnTo>
                    <a:pt x="376" y="854"/>
                  </a:lnTo>
                  <a:lnTo>
                    <a:pt x="324" y="844"/>
                  </a:lnTo>
                  <a:lnTo>
                    <a:pt x="274" y="828"/>
                  </a:lnTo>
                  <a:lnTo>
                    <a:pt x="228" y="807"/>
                  </a:lnTo>
                  <a:lnTo>
                    <a:pt x="184" y="780"/>
                  </a:lnTo>
                  <a:lnTo>
                    <a:pt x="144" y="749"/>
                  </a:lnTo>
                  <a:lnTo>
                    <a:pt x="108" y="714"/>
                  </a:lnTo>
                  <a:lnTo>
                    <a:pt x="77" y="673"/>
                  </a:lnTo>
                  <a:lnTo>
                    <a:pt x="51" y="630"/>
                  </a:lnTo>
                  <a:lnTo>
                    <a:pt x="29" y="584"/>
                  </a:lnTo>
                  <a:lnTo>
                    <a:pt x="12" y="535"/>
                  </a:lnTo>
                  <a:lnTo>
                    <a:pt x="3" y="483"/>
                  </a:lnTo>
                  <a:lnTo>
                    <a:pt x="0" y="428"/>
                  </a:lnTo>
                  <a:lnTo>
                    <a:pt x="3" y="375"/>
                  </a:lnTo>
                  <a:lnTo>
                    <a:pt x="12" y="323"/>
                  </a:lnTo>
                  <a:lnTo>
                    <a:pt x="29" y="274"/>
                  </a:lnTo>
                  <a:lnTo>
                    <a:pt x="51" y="228"/>
                  </a:lnTo>
                  <a:lnTo>
                    <a:pt x="77" y="184"/>
                  </a:lnTo>
                  <a:lnTo>
                    <a:pt x="108" y="145"/>
                  </a:lnTo>
                  <a:lnTo>
                    <a:pt x="144" y="109"/>
                  </a:lnTo>
                  <a:lnTo>
                    <a:pt x="184" y="78"/>
                  </a:lnTo>
                  <a:lnTo>
                    <a:pt x="228" y="51"/>
                  </a:lnTo>
                  <a:lnTo>
                    <a:pt x="274" y="29"/>
                  </a:lnTo>
                  <a:lnTo>
                    <a:pt x="324" y="13"/>
                  </a:lnTo>
                  <a:lnTo>
                    <a:pt x="376" y="4"/>
                  </a:lnTo>
                  <a:lnTo>
                    <a:pt x="4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auto">
            <a:xfrm>
              <a:off x="2665" y="2934"/>
              <a:ext cx="88" cy="88"/>
            </a:xfrm>
            <a:custGeom>
              <a:avLst/>
              <a:gdLst>
                <a:gd name="T0" fmla="*/ 307 w 614"/>
                <a:gd name="T1" fmla="*/ 0 h 612"/>
                <a:gd name="T2" fmla="*/ 352 w 614"/>
                <a:gd name="T3" fmla="*/ 4 h 612"/>
                <a:gd name="T4" fmla="*/ 395 w 614"/>
                <a:gd name="T5" fmla="*/ 14 h 612"/>
                <a:gd name="T6" fmla="*/ 436 w 614"/>
                <a:gd name="T7" fmla="*/ 29 h 612"/>
                <a:gd name="T8" fmla="*/ 473 w 614"/>
                <a:gd name="T9" fmla="*/ 50 h 612"/>
                <a:gd name="T10" fmla="*/ 508 w 614"/>
                <a:gd name="T11" fmla="*/ 75 h 612"/>
                <a:gd name="T12" fmla="*/ 538 w 614"/>
                <a:gd name="T13" fmla="*/ 105 h 612"/>
                <a:gd name="T14" fmla="*/ 564 w 614"/>
                <a:gd name="T15" fmla="*/ 140 h 612"/>
                <a:gd name="T16" fmla="*/ 585 w 614"/>
                <a:gd name="T17" fmla="*/ 178 h 612"/>
                <a:gd name="T18" fmla="*/ 601 w 614"/>
                <a:gd name="T19" fmla="*/ 218 h 612"/>
                <a:gd name="T20" fmla="*/ 610 w 614"/>
                <a:gd name="T21" fmla="*/ 261 h 612"/>
                <a:gd name="T22" fmla="*/ 614 w 614"/>
                <a:gd name="T23" fmla="*/ 306 h 612"/>
                <a:gd name="T24" fmla="*/ 610 w 614"/>
                <a:gd name="T25" fmla="*/ 352 h 612"/>
                <a:gd name="T26" fmla="*/ 601 w 614"/>
                <a:gd name="T27" fmla="*/ 395 h 612"/>
                <a:gd name="T28" fmla="*/ 585 w 614"/>
                <a:gd name="T29" fmla="*/ 435 h 612"/>
                <a:gd name="T30" fmla="*/ 564 w 614"/>
                <a:gd name="T31" fmla="*/ 472 h 612"/>
                <a:gd name="T32" fmla="*/ 538 w 614"/>
                <a:gd name="T33" fmla="*/ 507 h 612"/>
                <a:gd name="T34" fmla="*/ 508 w 614"/>
                <a:gd name="T35" fmla="*/ 537 h 612"/>
                <a:gd name="T36" fmla="*/ 473 w 614"/>
                <a:gd name="T37" fmla="*/ 562 h 612"/>
                <a:gd name="T38" fmla="*/ 436 w 614"/>
                <a:gd name="T39" fmla="*/ 583 h 612"/>
                <a:gd name="T40" fmla="*/ 395 w 614"/>
                <a:gd name="T41" fmla="*/ 599 h 612"/>
                <a:gd name="T42" fmla="*/ 352 w 614"/>
                <a:gd name="T43" fmla="*/ 608 h 612"/>
                <a:gd name="T44" fmla="*/ 307 w 614"/>
                <a:gd name="T45" fmla="*/ 612 h 612"/>
                <a:gd name="T46" fmla="*/ 261 w 614"/>
                <a:gd name="T47" fmla="*/ 608 h 612"/>
                <a:gd name="T48" fmla="*/ 217 w 614"/>
                <a:gd name="T49" fmla="*/ 599 h 612"/>
                <a:gd name="T50" fmla="*/ 177 w 614"/>
                <a:gd name="T51" fmla="*/ 583 h 612"/>
                <a:gd name="T52" fmla="*/ 140 w 614"/>
                <a:gd name="T53" fmla="*/ 562 h 612"/>
                <a:gd name="T54" fmla="*/ 105 w 614"/>
                <a:gd name="T55" fmla="*/ 537 h 612"/>
                <a:gd name="T56" fmla="*/ 75 w 614"/>
                <a:gd name="T57" fmla="*/ 507 h 612"/>
                <a:gd name="T58" fmla="*/ 49 w 614"/>
                <a:gd name="T59" fmla="*/ 472 h 612"/>
                <a:gd name="T60" fmla="*/ 29 w 614"/>
                <a:gd name="T61" fmla="*/ 435 h 612"/>
                <a:gd name="T62" fmla="*/ 12 w 614"/>
                <a:gd name="T63" fmla="*/ 395 h 612"/>
                <a:gd name="T64" fmla="*/ 3 w 614"/>
                <a:gd name="T65" fmla="*/ 352 h 612"/>
                <a:gd name="T66" fmla="*/ 0 w 614"/>
                <a:gd name="T67" fmla="*/ 306 h 612"/>
                <a:gd name="T68" fmla="*/ 3 w 614"/>
                <a:gd name="T69" fmla="*/ 261 h 612"/>
                <a:gd name="T70" fmla="*/ 12 w 614"/>
                <a:gd name="T71" fmla="*/ 218 h 612"/>
                <a:gd name="T72" fmla="*/ 29 w 614"/>
                <a:gd name="T73" fmla="*/ 178 h 612"/>
                <a:gd name="T74" fmla="*/ 49 w 614"/>
                <a:gd name="T75" fmla="*/ 140 h 612"/>
                <a:gd name="T76" fmla="*/ 75 w 614"/>
                <a:gd name="T77" fmla="*/ 105 h 612"/>
                <a:gd name="T78" fmla="*/ 105 w 614"/>
                <a:gd name="T79" fmla="*/ 75 h 612"/>
                <a:gd name="T80" fmla="*/ 140 w 614"/>
                <a:gd name="T81" fmla="*/ 50 h 612"/>
                <a:gd name="T82" fmla="*/ 177 w 614"/>
                <a:gd name="T83" fmla="*/ 29 h 612"/>
                <a:gd name="T84" fmla="*/ 217 w 614"/>
                <a:gd name="T85" fmla="*/ 14 h 612"/>
                <a:gd name="T86" fmla="*/ 261 w 614"/>
                <a:gd name="T87" fmla="*/ 4 h 612"/>
                <a:gd name="T88" fmla="*/ 307 w 614"/>
                <a:gd name="T89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14" h="612">
                  <a:moveTo>
                    <a:pt x="307" y="0"/>
                  </a:moveTo>
                  <a:lnTo>
                    <a:pt x="352" y="4"/>
                  </a:lnTo>
                  <a:lnTo>
                    <a:pt x="395" y="14"/>
                  </a:lnTo>
                  <a:lnTo>
                    <a:pt x="436" y="29"/>
                  </a:lnTo>
                  <a:lnTo>
                    <a:pt x="473" y="50"/>
                  </a:lnTo>
                  <a:lnTo>
                    <a:pt x="508" y="75"/>
                  </a:lnTo>
                  <a:lnTo>
                    <a:pt x="538" y="105"/>
                  </a:lnTo>
                  <a:lnTo>
                    <a:pt x="564" y="140"/>
                  </a:lnTo>
                  <a:lnTo>
                    <a:pt x="585" y="178"/>
                  </a:lnTo>
                  <a:lnTo>
                    <a:pt x="601" y="218"/>
                  </a:lnTo>
                  <a:lnTo>
                    <a:pt x="610" y="261"/>
                  </a:lnTo>
                  <a:lnTo>
                    <a:pt x="614" y="306"/>
                  </a:lnTo>
                  <a:lnTo>
                    <a:pt x="610" y="352"/>
                  </a:lnTo>
                  <a:lnTo>
                    <a:pt x="601" y="395"/>
                  </a:lnTo>
                  <a:lnTo>
                    <a:pt x="585" y="435"/>
                  </a:lnTo>
                  <a:lnTo>
                    <a:pt x="564" y="472"/>
                  </a:lnTo>
                  <a:lnTo>
                    <a:pt x="538" y="507"/>
                  </a:lnTo>
                  <a:lnTo>
                    <a:pt x="508" y="537"/>
                  </a:lnTo>
                  <a:lnTo>
                    <a:pt x="473" y="562"/>
                  </a:lnTo>
                  <a:lnTo>
                    <a:pt x="436" y="583"/>
                  </a:lnTo>
                  <a:lnTo>
                    <a:pt x="395" y="599"/>
                  </a:lnTo>
                  <a:lnTo>
                    <a:pt x="352" y="608"/>
                  </a:lnTo>
                  <a:lnTo>
                    <a:pt x="307" y="612"/>
                  </a:lnTo>
                  <a:lnTo>
                    <a:pt x="261" y="608"/>
                  </a:lnTo>
                  <a:lnTo>
                    <a:pt x="217" y="599"/>
                  </a:lnTo>
                  <a:lnTo>
                    <a:pt x="177" y="583"/>
                  </a:lnTo>
                  <a:lnTo>
                    <a:pt x="140" y="562"/>
                  </a:lnTo>
                  <a:lnTo>
                    <a:pt x="105" y="537"/>
                  </a:lnTo>
                  <a:lnTo>
                    <a:pt x="75" y="507"/>
                  </a:lnTo>
                  <a:lnTo>
                    <a:pt x="49" y="472"/>
                  </a:lnTo>
                  <a:lnTo>
                    <a:pt x="29" y="435"/>
                  </a:lnTo>
                  <a:lnTo>
                    <a:pt x="12" y="395"/>
                  </a:lnTo>
                  <a:lnTo>
                    <a:pt x="3" y="352"/>
                  </a:lnTo>
                  <a:lnTo>
                    <a:pt x="0" y="306"/>
                  </a:lnTo>
                  <a:lnTo>
                    <a:pt x="3" y="261"/>
                  </a:lnTo>
                  <a:lnTo>
                    <a:pt x="12" y="218"/>
                  </a:lnTo>
                  <a:lnTo>
                    <a:pt x="29" y="178"/>
                  </a:lnTo>
                  <a:lnTo>
                    <a:pt x="49" y="140"/>
                  </a:lnTo>
                  <a:lnTo>
                    <a:pt x="75" y="105"/>
                  </a:lnTo>
                  <a:lnTo>
                    <a:pt x="105" y="75"/>
                  </a:lnTo>
                  <a:lnTo>
                    <a:pt x="140" y="50"/>
                  </a:lnTo>
                  <a:lnTo>
                    <a:pt x="177" y="29"/>
                  </a:lnTo>
                  <a:lnTo>
                    <a:pt x="217" y="14"/>
                  </a:lnTo>
                  <a:lnTo>
                    <a:pt x="261" y="4"/>
                  </a:lnTo>
                  <a:lnTo>
                    <a:pt x="3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3020" y="2934"/>
              <a:ext cx="88" cy="88"/>
            </a:xfrm>
            <a:custGeom>
              <a:avLst/>
              <a:gdLst>
                <a:gd name="T0" fmla="*/ 307 w 614"/>
                <a:gd name="T1" fmla="*/ 0 h 612"/>
                <a:gd name="T2" fmla="*/ 352 w 614"/>
                <a:gd name="T3" fmla="*/ 4 h 612"/>
                <a:gd name="T4" fmla="*/ 395 w 614"/>
                <a:gd name="T5" fmla="*/ 14 h 612"/>
                <a:gd name="T6" fmla="*/ 436 w 614"/>
                <a:gd name="T7" fmla="*/ 29 h 612"/>
                <a:gd name="T8" fmla="*/ 474 w 614"/>
                <a:gd name="T9" fmla="*/ 50 h 612"/>
                <a:gd name="T10" fmla="*/ 509 w 614"/>
                <a:gd name="T11" fmla="*/ 75 h 612"/>
                <a:gd name="T12" fmla="*/ 539 w 614"/>
                <a:gd name="T13" fmla="*/ 105 h 612"/>
                <a:gd name="T14" fmla="*/ 564 w 614"/>
                <a:gd name="T15" fmla="*/ 140 h 612"/>
                <a:gd name="T16" fmla="*/ 585 w 614"/>
                <a:gd name="T17" fmla="*/ 177 h 612"/>
                <a:gd name="T18" fmla="*/ 600 w 614"/>
                <a:gd name="T19" fmla="*/ 218 h 612"/>
                <a:gd name="T20" fmla="*/ 611 w 614"/>
                <a:gd name="T21" fmla="*/ 261 h 612"/>
                <a:gd name="T22" fmla="*/ 614 w 614"/>
                <a:gd name="T23" fmla="*/ 306 h 612"/>
                <a:gd name="T24" fmla="*/ 611 w 614"/>
                <a:gd name="T25" fmla="*/ 351 h 612"/>
                <a:gd name="T26" fmla="*/ 600 w 614"/>
                <a:gd name="T27" fmla="*/ 395 h 612"/>
                <a:gd name="T28" fmla="*/ 585 w 614"/>
                <a:gd name="T29" fmla="*/ 435 h 612"/>
                <a:gd name="T30" fmla="*/ 564 w 614"/>
                <a:gd name="T31" fmla="*/ 472 h 612"/>
                <a:gd name="T32" fmla="*/ 539 w 614"/>
                <a:gd name="T33" fmla="*/ 507 h 612"/>
                <a:gd name="T34" fmla="*/ 509 w 614"/>
                <a:gd name="T35" fmla="*/ 537 h 612"/>
                <a:gd name="T36" fmla="*/ 474 w 614"/>
                <a:gd name="T37" fmla="*/ 562 h 612"/>
                <a:gd name="T38" fmla="*/ 436 w 614"/>
                <a:gd name="T39" fmla="*/ 583 h 612"/>
                <a:gd name="T40" fmla="*/ 395 w 614"/>
                <a:gd name="T41" fmla="*/ 599 h 612"/>
                <a:gd name="T42" fmla="*/ 352 w 614"/>
                <a:gd name="T43" fmla="*/ 608 h 612"/>
                <a:gd name="T44" fmla="*/ 307 w 614"/>
                <a:gd name="T45" fmla="*/ 612 h 612"/>
                <a:gd name="T46" fmla="*/ 262 w 614"/>
                <a:gd name="T47" fmla="*/ 608 h 612"/>
                <a:gd name="T48" fmla="*/ 218 w 614"/>
                <a:gd name="T49" fmla="*/ 599 h 612"/>
                <a:gd name="T50" fmla="*/ 177 w 614"/>
                <a:gd name="T51" fmla="*/ 583 h 612"/>
                <a:gd name="T52" fmla="*/ 140 w 614"/>
                <a:gd name="T53" fmla="*/ 562 h 612"/>
                <a:gd name="T54" fmla="*/ 106 w 614"/>
                <a:gd name="T55" fmla="*/ 537 h 612"/>
                <a:gd name="T56" fmla="*/ 76 w 614"/>
                <a:gd name="T57" fmla="*/ 507 h 612"/>
                <a:gd name="T58" fmla="*/ 50 w 614"/>
                <a:gd name="T59" fmla="*/ 472 h 612"/>
                <a:gd name="T60" fmla="*/ 29 w 614"/>
                <a:gd name="T61" fmla="*/ 435 h 612"/>
                <a:gd name="T62" fmla="*/ 13 w 614"/>
                <a:gd name="T63" fmla="*/ 395 h 612"/>
                <a:gd name="T64" fmla="*/ 4 w 614"/>
                <a:gd name="T65" fmla="*/ 351 h 612"/>
                <a:gd name="T66" fmla="*/ 0 w 614"/>
                <a:gd name="T67" fmla="*/ 306 h 612"/>
                <a:gd name="T68" fmla="*/ 4 w 614"/>
                <a:gd name="T69" fmla="*/ 261 h 612"/>
                <a:gd name="T70" fmla="*/ 13 w 614"/>
                <a:gd name="T71" fmla="*/ 218 h 612"/>
                <a:gd name="T72" fmla="*/ 29 w 614"/>
                <a:gd name="T73" fmla="*/ 177 h 612"/>
                <a:gd name="T74" fmla="*/ 50 w 614"/>
                <a:gd name="T75" fmla="*/ 140 h 612"/>
                <a:gd name="T76" fmla="*/ 76 w 614"/>
                <a:gd name="T77" fmla="*/ 105 h 612"/>
                <a:gd name="T78" fmla="*/ 106 w 614"/>
                <a:gd name="T79" fmla="*/ 75 h 612"/>
                <a:gd name="T80" fmla="*/ 140 w 614"/>
                <a:gd name="T81" fmla="*/ 50 h 612"/>
                <a:gd name="T82" fmla="*/ 177 w 614"/>
                <a:gd name="T83" fmla="*/ 29 h 612"/>
                <a:gd name="T84" fmla="*/ 218 w 614"/>
                <a:gd name="T85" fmla="*/ 14 h 612"/>
                <a:gd name="T86" fmla="*/ 262 w 614"/>
                <a:gd name="T87" fmla="*/ 4 h 612"/>
                <a:gd name="T88" fmla="*/ 307 w 614"/>
                <a:gd name="T89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14" h="612">
                  <a:moveTo>
                    <a:pt x="307" y="0"/>
                  </a:moveTo>
                  <a:lnTo>
                    <a:pt x="352" y="4"/>
                  </a:lnTo>
                  <a:lnTo>
                    <a:pt x="395" y="14"/>
                  </a:lnTo>
                  <a:lnTo>
                    <a:pt x="436" y="29"/>
                  </a:lnTo>
                  <a:lnTo>
                    <a:pt x="474" y="50"/>
                  </a:lnTo>
                  <a:lnTo>
                    <a:pt x="509" y="75"/>
                  </a:lnTo>
                  <a:lnTo>
                    <a:pt x="539" y="105"/>
                  </a:lnTo>
                  <a:lnTo>
                    <a:pt x="564" y="140"/>
                  </a:lnTo>
                  <a:lnTo>
                    <a:pt x="585" y="177"/>
                  </a:lnTo>
                  <a:lnTo>
                    <a:pt x="600" y="218"/>
                  </a:lnTo>
                  <a:lnTo>
                    <a:pt x="611" y="261"/>
                  </a:lnTo>
                  <a:lnTo>
                    <a:pt x="614" y="306"/>
                  </a:lnTo>
                  <a:lnTo>
                    <a:pt x="611" y="351"/>
                  </a:lnTo>
                  <a:lnTo>
                    <a:pt x="600" y="395"/>
                  </a:lnTo>
                  <a:lnTo>
                    <a:pt x="585" y="435"/>
                  </a:lnTo>
                  <a:lnTo>
                    <a:pt x="564" y="472"/>
                  </a:lnTo>
                  <a:lnTo>
                    <a:pt x="539" y="507"/>
                  </a:lnTo>
                  <a:lnTo>
                    <a:pt x="509" y="537"/>
                  </a:lnTo>
                  <a:lnTo>
                    <a:pt x="474" y="562"/>
                  </a:lnTo>
                  <a:lnTo>
                    <a:pt x="436" y="583"/>
                  </a:lnTo>
                  <a:lnTo>
                    <a:pt x="395" y="599"/>
                  </a:lnTo>
                  <a:lnTo>
                    <a:pt x="352" y="608"/>
                  </a:lnTo>
                  <a:lnTo>
                    <a:pt x="307" y="612"/>
                  </a:lnTo>
                  <a:lnTo>
                    <a:pt x="262" y="608"/>
                  </a:lnTo>
                  <a:lnTo>
                    <a:pt x="218" y="599"/>
                  </a:lnTo>
                  <a:lnTo>
                    <a:pt x="177" y="583"/>
                  </a:lnTo>
                  <a:lnTo>
                    <a:pt x="140" y="562"/>
                  </a:lnTo>
                  <a:lnTo>
                    <a:pt x="106" y="537"/>
                  </a:lnTo>
                  <a:lnTo>
                    <a:pt x="76" y="507"/>
                  </a:lnTo>
                  <a:lnTo>
                    <a:pt x="50" y="472"/>
                  </a:lnTo>
                  <a:lnTo>
                    <a:pt x="29" y="435"/>
                  </a:lnTo>
                  <a:lnTo>
                    <a:pt x="13" y="395"/>
                  </a:lnTo>
                  <a:lnTo>
                    <a:pt x="4" y="351"/>
                  </a:lnTo>
                  <a:lnTo>
                    <a:pt x="0" y="306"/>
                  </a:lnTo>
                  <a:lnTo>
                    <a:pt x="4" y="261"/>
                  </a:lnTo>
                  <a:lnTo>
                    <a:pt x="13" y="218"/>
                  </a:lnTo>
                  <a:lnTo>
                    <a:pt x="29" y="177"/>
                  </a:lnTo>
                  <a:lnTo>
                    <a:pt x="50" y="140"/>
                  </a:lnTo>
                  <a:lnTo>
                    <a:pt x="76" y="105"/>
                  </a:lnTo>
                  <a:lnTo>
                    <a:pt x="106" y="75"/>
                  </a:lnTo>
                  <a:lnTo>
                    <a:pt x="140" y="50"/>
                  </a:lnTo>
                  <a:lnTo>
                    <a:pt x="177" y="29"/>
                  </a:lnTo>
                  <a:lnTo>
                    <a:pt x="218" y="14"/>
                  </a:lnTo>
                  <a:lnTo>
                    <a:pt x="262" y="4"/>
                  </a:lnTo>
                  <a:lnTo>
                    <a:pt x="3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auto">
            <a:xfrm>
              <a:off x="2616" y="3024"/>
              <a:ext cx="541" cy="286"/>
            </a:xfrm>
            <a:custGeom>
              <a:avLst/>
              <a:gdLst>
                <a:gd name="T0" fmla="*/ 512 w 3784"/>
                <a:gd name="T1" fmla="*/ 0 h 2002"/>
                <a:gd name="T2" fmla="*/ 609 w 3784"/>
                <a:gd name="T3" fmla="*/ 105 h 2002"/>
                <a:gd name="T4" fmla="*/ 555 w 3784"/>
                <a:gd name="T5" fmla="*/ 679 h 2002"/>
                <a:gd name="T6" fmla="*/ 649 w 3784"/>
                <a:gd name="T7" fmla="*/ 783 h 2002"/>
                <a:gd name="T8" fmla="*/ 744 w 3784"/>
                <a:gd name="T9" fmla="*/ 677 h 2002"/>
                <a:gd name="T10" fmla="*/ 690 w 3784"/>
                <a:gd name="T11" fmla="*/ 105 h 2002"/>
                <a:gd name="T12" fmla="*/ 786 w 3784"/>
                <a:gd name="T13" fmla="*/ 0 h 2002"/>
                <a:gd name="T14" fmla="*/ 852 w 3784"/>
                <a:gd name="T15" fmla="*/ 66 h 2002"/>
                <a:gd name="T16" fmla="*/ 1171 w 3784"/>
                <a:gd name="T17" fmla="*/ 136 h 2002"/>
                <a:gd name="T18" fmla="*/ 1245 w 3784"/>
                <a:gd name="T19" fmla="*/ 477 h 2002"/>
                <a:gd name="T20" fmla="*/ 1609 w 3784"/>
                <a:gd name="T21" fmla="*/ 397 h 2002"/>
                <a:gd name="T22" fmla="*/ 1700 w 3784"/>
                <a:gd name="T23" fmla="*/ 306 h 2002"/>
                <a:gd name="T24" fmla="*/ 1837 w 3784"/>
                <a:gd name="T25" fmla="*/ 452 h 2002"/>
                <a:gd name="T26" fmla="*/ 1762 w 3784"/>
                <a:gd name="T27" fmla="*/ 1257 h 2002"/>
                <a:gd name="T28" fmla="*/ 1891 w 3784"/>
                <a:gd name="T29" fmla="*/ 1401 h 2002"/>
                <a:gd name="T30" fmla="*/ 2026 w 3784"/>
                <a:gd name="T31" fmla="*/ 1253 h 2002"/>
                <a:gd name="T32" fmla="*/ 1950 w 3784"/>
                <a:gd name="T33" fmla="*/ 452 h 2002"/>
                <a:gd name="T34" fmla="*/ 2085 w 3784"/>
                <a:gd name="T35" fmla="*/ 306 h 2002"/>
                <a:gd name="T36" fmla="*/ 2177 w 3784"/>
                <a:gd name="T37" fmla="*/ 397 h 2002"/>
                <a:gd name="T38" fmla="*/ 2540 w 3784"/>
                <a:gd name="T39" fmla="*/ 477 h 2002"/>
                <a:gd name="T40" fmla="*/ 2614 w 3784"/>
                <a:gd name="T41" fmla="*/ 136 h 2002"/>
                <a:gd name="T42" fmla="*/ 2934 w 3784"/>
                <a:gd name="T43" fmla="*/ 66 h 2002"/>
                <a:gd name="T44" fmla="*/ 2999 w 3784"/>
                <a:gd name="T45" fmla="*/ 0 h 2002"/>
                <a:gd name="T46" fmla="*/ 3096 w 3784"/>
                <a:gd name="T47" fmla="*/ 105 h 2002"/>
                <a:gd name="T48" fmla="*/ 3043 w 3784"/>
                <a:gd name="T49" fmla="*/ 679 h 2002"/>
                <a:gd name="T50" fmla="*/ 3135 w 3784"/>
                <a:gd name="T51" fmla="*/ 783 h 2002"/>
                <a:gd name="T52" fmla="*/ 3230 w 3784"/>
                <a:gd name="T53" fmla="*/ 677 h 2002"/>
                <a:gd name="T54" fmla="*/ 3177 w 3784"/>
                <a:gd name="T55" fmla="*/ 105 h 2002"/>
                <a:gd name="T56" fmla="*/ 3273 w 3784"/>
                <a:gd name="T57" fmla="*/ 0 h 2002"/>
                <a:gd name="T58" fmla="*/ 3339 w 3784"/>
                <a:gd name="T59" fmla="*/ 66 h 2002"/>
                <a:gd name="T60" fmla="*/ 3658 w 3784"/>
                <a:gd name="T61" fmla="*/ 136 h 2002"/>
                <a:gd name="T62" fmla="*/ 3784 w 3784"/>
                <a:gd name="T63" fmla="*/ 718 h 2002"/>
                <a:gd name="T64" fmla="*/ 3551 w 3784"/>
                <a:gd name="T65" fmla="*/ 1212 h 2002"/>
                <a:gd name="T66" fmla="*/ 2780 w 3784"/>
                <a:gd name="T67" fmla="*/ 1212 h 2002"/>
                <a:gd name="T68" fmla="*/ 2800 w 3784"/>
                <a:gd name="T69" fmla="*/ 1311 h 2002"/>
                <a:gd name="T70" fmla="*/ 2474 w 3784"/>
                <a:gd name="T71" fmla="*/ 2002 h 2002"/>
                <a:gd name="T72" fmla="*/ 1310 w 3784"/>
                <a:gd name="T73" fmla="*/ 2002 h 2002"/>
                <a:gd name="T74" fmla="*/ 983 w 3784"/>
                <a:gd name="T75" fmla="*/ 1311 h 2002"/>
                <a:gd name="T76" fmla="*/ 986 w 3784"/>
                <a:gd name="T77" fmla="*/ 1310 h 2002"/>
                <a:gd name="T78" fmla="*/ 1006 w 3784"/>
                <a:gd name="T79" fmla="*/ 1212 h 2002"/>
                <a:gd name="T80" fmla="*/ 233 w 3784"/>
                <a:gd name="T81" fmla="*/ 1212 h 2002"/>
                <a:gd name="T82" fmla="*/ 0 w 3784"/>
                <a:gd name="T83" fmla="*/ 718 h 2002"/>
                <a:gd name="T84" fmla="*/ 1 w 3784"/>
                <a:gd name="T85" fmla="*/ 718 h 2002"/>
                <a:gd name="T86" fmla="*/ 127 w 3784"/>
                <a:gd name="T87" fmla="*/ 136 h 2002"/>
                <a:gd name="T88" fmla="*/ 447 w 3784"/>
                <a:gd name="T89" fmla="*/ 66 h 2002"/>
                <a:gd name="T90" fmla="*/ 512 w 3784"/>
                <a:gd name="T91" fmla="*/ 0 h 2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84" h="2002">
                  <a:moveTo>
                    <a:pt x="512" y="0"/>
                  </a:moveTo>
                  <a:lnTo>
                    <a:pt x="609" y="105"/>
                  </a:lnTo>
                  <a:lnTo>
                    <a:pt x="555" y="679"/>
                  </a:lnTo>
                  <a:lnTo>
                    <a:pt x="649" y="783"/>
                  </a:lnTo>
                  <a:lnTo>
                    <a:pt x="744" y="677"/>
                  </a:lnTo>
                  <a:lnTo>
                    <a:pt x="690" y="105"/>
                  </a:lnTo>
                  <a:lnTo>
                    <a:pt x="786" y="0"/>
                  </a:lnTo>
                  <a:lnTo>
                    <a:pt x="852" y="66"/>
                  </a:lnTo>
                  <a:lnTo>
                    <a:pt x="1171" y="136"/>
                  </a:lnTo>
                  <a:lnTo>
                    <a:pt x="1245" y="477"/>
                  </a:lnTo>
                  <a:lnTo>
                    <a:pt x="1609" y="397"/>
                  </a:lnTo>
                  <a:lnTo>
                    <a:pt x="1700" y="306"/>
                  </a:lnTo>
                  <a:lnTo>
                    <a:pt x="1837" y="452"/>
                  </a:lnTo>
                  <a:lnTo>
                    <a:pt x="1762" y="1257"/>
                  </a:lnTo>
                  <a:lnTo>
                    <a:pt x="1891" y="1401"/>
                  </a:lnTo>
                  <a:lnTo>
                    <a:pt x="2026" y="1253"/>
                  </a:lnTo>
                  <a:lnTo>
                    <a:pt x="1950" y="452"/>
                  </a:lnTo>
                  <a:lnTo>
                    <a:pt x="2085" y="306"/>
                  </a:lnTo>
                  <a:lnTo>
                    <a:pt x="2177" y="397"/>
                  </a:lnTo>
                  <a:lnTo>
                    <a:pt x="2540" y="477"/>
                  </a:lnTo>
                  <a:lnTo>
                    <a:pt x="2614" y="136"/>
                  </a:lnTo>
                  <a:lnTo>
                    <a:pt x="2934" y="66"/>
                  </a:lnTo>
                  <a:lnTo>
                    <a:pt x="2999" y="0"/>
                  </a:lnTo>
                  <a:lnTo>
                    <a:pt x="3096" y="105"/>
                  </a:lnTo>
                  <a:lnTo>
                    <a:pt x="3043" y="679"/>
                  </a:lnTo>
                  <a:lnTo>
                    <a:pt x="3135" y="783"/>
                  </a:lnTo>
                  <a:lnTo>
                    <a:pt x="3230" y="677"/>
                  </a:lnTo>
                  <a:lnTo>
                    <a:pt x="3177" y="105"/>
                  </a:lnTo>
                  <a:lnTo>
                    <a:pt x="3273" y="0"/>
                  </a:lnTo>
                  <a:lnTo>
                    <a:pt x="3339" y="66"/>
                  </a:lnTo>
                  <a:lnTo>
                    <a:pt x="3658" y="136"/>
                  </a:lnTo>
                  <a:lnTo>
                    <a:pt x="3784" y="718"/>
                  </a:lnTo>
                  <a:lnTo>
                    <a:pt x="3551" y="1212"/>
                  </a:lnTo>
                  <a:lnTo>
                    <a:pt x="2780" y="1212"/>
                  </a:lnTo>
                  <a:lnTo>
                    <a:pt x="2800" y="1311"/>
                  </a:lnTo>
                  <a:lnTo>
                    <a:pt x="2474" y="2002"/>
                  </a:lnTo>
                  <a:lnTo>
                    <a:pt x="1310" y="2002"/>
                  </a:lnTo>
                  <a:lnTo>
                    <a:pt x="983" y="1311"/>
                  </a:lnTo>
                  <a:lnTo>
                    <a:pt x="986" y="1310"/>
                  </a:lnTo>
                  <a:lnTo>
                    <a:pt x="1006" y="1212"/>
                  </a:lnTo>
                  <a:lnTo>
                    <a:pt x="233" y="1212"/>
                  </a:lnTo>
                  <a:lnTo>
                    <a:pt x="0" y="718"/>
                  </a:lnTo>
                  <a:lnTo>
                    <a:pt x="1" y="718"/>
                  </a:lnTo>
                  <a:lnTo>
                    <a:pt x="127" y="136"/>
                  </a:lnTo>
                  <a:lnTo>
                    <a:pt x="447" y="66"/>
                  </a:lnTo>
                  <a:lnTo>
                    <a:pt x="5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Group 4"/>
          <p:cNvGrpSpPr>
            <a:grpSpLocks noChangeAspect="1"/>
          </p:cNvGrpSpPr>
          <p:nvPr/>
        </p:nvGrpSpPr>
        <p:grpSpPr bwMode="auto">
          <a:xfrm>
            <a:off x="4757959" y="5363988"/>
            <a:ext cx="501766" cy="377381"/>
            <a:chOff x="780" y="941"/>
            <a:chExt cx="2080" cy="1630"/>
          </a:xfrm>
          <a:solidFill>
            <a:schemeClr val="accent2">
              <a:lumMod val="75000"/>
            </a:schemeClr>
          </a:solidFill>
        </p:grpSpPr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1135" y="2385"/>
              <a:ext cx="1371" cy="186"/>
            </a:xfrm>
            <a:custGeom>
              <a:avLst/>
              <a:gdLst>
                <a:gd name="T0" fmla="*/ 188 w 2741"/>
                <a:gd name="T1" fmla="*/ 0 h 373"/>
                <a:gd name="T2" fmla="*/ 2551 w 2741"/>
                <a:gd name="T3" fmla="*/ 0 h 373"/>
                <a:gd name="T4" fmla="*/ 2590 w 2741"/>
                <a:gd name="T5" fmla="*/ 4 h 373"/>
                <a:gd name="T6" fmla="*/ 2625 w 2741"/>
                <a:gd name="T7" fmla="*/ 15 h 373"/>
                <a:gd name="T8" fmla="*/ 2657 w 2741"/>
                <a:gd name="T9" fmla="*/ 33 h 373"/>
                <a:gd name="T10" fmla="*/ 2685 w 2741"/>
                <a:gd name="T11" fmla="*/ 55 h 373"/>
                <a:gd name="T12" fmla="*/ 2708 w 2741"/>
                <a:gd name="T13" fmla="*/ 83 h 373"/>
                <a:gd name="T14" fmla="*/ 2726 w 2741"/>
                <a:gd name="T15" fmla="*/ 114 h 373"/>
                <a:gd name="T16" fmla="*/ 2737 w 2741"/>
                <a:gd name="T17" fmla="*/ 149 h 373"/>
                <a:gd name="T18" fmla="*/ 2741 w 2741"/>
                <a:gd name="T19" fmla="*/ 187 h 373"/>
                <a:gd name="T20" fmla="*/ 2737 w 2741"/>
                <a:gd name="T21" fmla="*/ 225 h 373"/>
                <a:gd name="T22" fmla="*/ 2726 w 2741"/>
                <a:gd name="T23" fmla="*/ 260 h 373"/>
                <a:gd name="T24" fmla="*/ 2708 w 2741"/>
                <a:gd name="T25" fmla="*/ 291 h 373"/>
                <a:gd name="T26" fmla="*/ 2685 w 2741"/>
                <a:gd name="T27" fmla="*/ 319 h 373"/>
                <a:gd name="T28" fmla="*/ 2657 w 2741"/>
                <a:gd name="T29" fmla="*/ 341 h 373"/>
                <a:gd name="T30" fmla="*/ 2625 w 2741"/>
                <a:gd name="T31" fmla="*/ 359 h 373"/>
                <a:gd name="T32" fmla="*/ 2590 w 2741"/>
                <a:gd name="T33" fmla="*/ 369 h 373"/>
                <a:gd name="T34" fmla="*/ 2551 w 2741"/>
                <a:gd name="T35" fmla="*/ 373 h 373"/>
                <a:gd name="T36" fmla="*/ 188 w 2741"/>
                <a:gd name="T37" fmla="*/ 373 h 373"/>
                <a:gd name="T38" fmla="*/ 150 w 2741"/>
                <a:gd name="T39" fmla="*/ 369 h 373"/>
                <a:gd name="T40" fmla="*/ 114 w 2741"/>
                <a:gd name="T41" fmla="*/ 359 h 373"/>
                <a:gd name="T42" fmla="*/ 82 w 2741"/>
                <a:gd name="T43" fmla="*/ 341 h 373"/>
                <a:gd name="T44" fmla="*/ 54 w 2741"/>
                <a:gd name="T45" fmla="*/ 319 h 373"/>
                <a:gd name="T46" fmla="*/ 31 w 2741"/>
                <a:gd name="T47" fmla="*/ 291 h 373"/>
                <a:gd name="T48" fmla="*/ 14 w 2741"/>
                <a:gd name="T49" fmla="*/ 260 h 373"/>
                <a:gd name="T50" fmla="*/ 3 w 2741"/>
                <a:gd name="T51" fmla="*/ 225 h 373"/>
                <a:gd name="T52" fmla="*/ 0 w 2741"/>
                <a:gd name="T53" fmla="*/ 187 h 373"/>
                <a:gd name="T54" fmla="*/ 3 w 2741"/>
                <a:gd name="T55" fmla="*/ 149 h 373"/>
                <a:gd name="T56" fmla="*/ 14 w 2741"/>
                <a:gd name="T57" fmla="*/ 114 h 373"/>
                <a:gd name="T58" fmla="*/ 31 w 2741"/>
                <a:gd name="T59" fmla="*/ 83 h 373"/>
                <a:gd name="T60" fmla="*/ 54 w 2741"/>
                <a:gd name="T61" fmla="*/ 55 h 373"/>
                <a:gd name="T62" fmla="*/ 82 w 2741"/>
                <a:gd name="T63" fmla="*/ 33 h 373"/>
                <a:gd name="T64" fmla="*/ 114 w 2741"/>
                <a:gd name="T65" fmla="*/ 15 h 373"/>
                <a:gd name="T66" fmla="*/ 150 w 2741"/>
                <a:gd name="T67" fmla="*/ 4 h 373"/>
                <a:gd name="T68" fmla="*/ 188 w 2741"/>
                <a:gd name="T6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41" h="373">
                  <a:moveTo>
                    <a:pt x="188" y="0"/>
                  </a:moveTo>
                  <a:lnTo>
                    <a:pt x="2551" y="0"/>
                  </a:lnTo>
                  <a:lnTo>
                    <a:pt x="2590" y="4"/>
                  </a:lnTo>
                  <a:lnTo>
                    <a:pt x="2625" y="15"/>
                  </a:lnTo>
                  <a:lnTo>
                    <a:pt x="2657" y="33"/>
                  </a:lnTo>
                  <a:lnTo>
                    <a:pt x="2685" y="55"/>
                  </a:lnTo>
                  <a:lnTo>
                    <a:pt x="2708" y="83"/>
                  </a:lnTo>
                  <a:lnTo>
                    <a:pt x="2726" y="114"/>
                  </a:lnTo>
                  <a:lnTo>
                    <a:pt x="2737" y="149"/>
                  </a:lnTo>
                  <a:lnTo>
                    <a:pt x="2741" y="187"/>
                  </a:lnTo>
                  <a:lnTo>
                    <a:pt x="2737" y="225"/>
                  </a:lnTo>
                  <a:lnTo>
                    <a:pt x="2726" y="260"/>
                  </a:lnTo>
                  <a:lnTo>
                    <a:pt x="2708" y="291"/>
                  </a:lnTo>
                  <a:lnTo>
                    <a:pt x="2685" y="319"/>
                  </a:lnTo>
                  <a:lnTo>
                    <a:pt x="2657" y="341"/>
                  </a:lnTo>
                  <a:lnTo>
                    <a:pt x="2625" y="359"/>
                  </a:lnTo>
                  <a:lnTo>
                    <a:pt x="2590" y="369"/>
                  </a:lnTo>
                  <a:lnTo>
                    <a:pt x="2551" y="373"/>
                  </a:lnTo>
                  <a:lnTo>
                    <a:pt x="188" y="373"/>
                  </a:lnTo>
                  <a:lnTo>
                    <a:pt x="150" y="369"/>
                  </a:lnTo>
                  <a:lnTo>
                    <a:pt x="114" y="359"/>
                  </a:lnTo>
                  <a:lnTo>
                    <a:pt x="82" y="341"/>
                  </a:lnTo>
                  <a:lnTo>
                    <a:pt x="54" y="319"/>
                  </a:lnTo>
                  <a:lnTo>
                    <a:pt x="31" y="291"/>
                  </a:lnTo>
                  <a:lnTo>
                    <a:pt x="14" y="260"/>
                  </a:lnTo>
                  <a:lnTo>
                    <a:pt x="3" y="225"/>
                  </a:lnTo>
                  <a:lnTo>
                    <a:pt x="0" y="187"/>
                  </a:lnTo>
                  <a:lnTo>
                    <a:pt x="3" y="149"/>
                  </a:lnTo>
                  <a:lnTo>
                    <a:pt x="14" y="114"/>
                  </a:lnTo>
                  <a:lnTo>
                    <a:pt x="31" y="83"/>
                  </a:lnTo>
                  <a:lnTo>
                    <a:pt x="54" y="55"/>
                  </a:lnTo>
                  <a:lnTo>
                    <a:pt x="82" y="33"/>
                  </a:lnTo>
                  <a:lnTo>
                    <a:pt x="114" y="15"/>
                  </a:lnTo>
                  <a:lnTo>
                    <a:pt x="150" y="4"/>
                  </a:lnTo>
                  <a:lnTo>
                    <a:pt x="1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auto">
            <a:xfrm>
              <a:off x="1111" y="1617"/>
              <a:ext cx="142" cy="372"/>
            </a:xfrm>
            <a:custGeom>
              <a:avLst/>
              <a:gdLst>
                <a:gd name="T0" fmla="*/ 143 w 284"/>
                <a:gd name="T1" fmla="*/ 0 h 745"/>
                <a:gd name="T2" fmla="*/ 175 w 284"/>
                <a:gd name="T3" fmla="*/ 4 h 745"/>
                <a:gd name="T4" fmla="*/ 205 w 284"/>
                <a:gd name="T5" fmla="*/ 14 h 745"/>
                <a:gd name="T6" fmla="*/ 232 w 284"/>
                <a:gd name="T7" fmla="*/ 30 h 745"/>
                <a:gd name="T8" fmla="*/ 254 w 284"/>
                <a:gd name="T9" fmla="*/ 53 h 745"/>
                <a:gd name="T10" fmla="*/ 270 w 284"/>
                <a:gd name="T11" fmla="*/ 78 h 745"/>
                <a:gd name="T12" fmla="*/ 280 w 284"/>
                <a:gd name="T13" fmla="*/ 108 h 745"/>
                <a:gd name="T14" fmla="*/ 284 w 284"/>
                <a:gd name="T15" fmla="*/ 139 h 745"/>
                <a:gd name="T16" fmla="*/ 284 w 284"/>
                <a:gd name="T17" fmla="*/ 605 h 745"/>
                <a:gd name="T18" fmla="*/ 280 w 284"/>
                <a:gd name="T19" fmla="*/ 638 h 745"/>
                <a:gd name="T20" fmla="*/ 270 w 284"/>
                <a:gd name="T21" fmla="*/ 667 h 745"/>
                <a:gd name="T22" fmla="*/ 254 w 284"/>
                <a:gd name="T23" fmla="*/ 693 h 745"/>
                <a:gd name="T24" fmla="*/ 232 w 284"/>
                <a:gd name="T25" fmla="*/ 714 h 745"/>
                <a:gd name="T26" fmla="*/ 205 w 284"/>
                <a:gd name="T27" fmla="*/ 731 h 745"/>
                <a:gd name="T28" fmla="*/ 175 w 284"/>
                <a:gd name="T29" fmla="*/ 742 h 745"/>
                <a:gd name="T30" fmla="*/ 143 w 284"/>
                <a:gd name="T31" fmla="*/ 745 h 745"/>
                <a:gd name="T32" fmla="*/ 110 w 284"/>
                <a:gd name="T33" fmla="*/ 742 h 745"/>
                <a:gd name="T34" fmla="*/ 80 w 284"/>
                <a:gd name="T35" fmla="*/ 731 h 745"/>
                <a:gd name="T36" fmla="*/ 54 w 284"/>
                <a:gd name="T37" fmla="*/ 714 h 745"/>
                <a:gd name="T38" fmla="*/ 32 w 284"/>
                <a:gd name="T39" fmla="*/ 693 h 745"/>
                <a:gd name="T40" fmla="*/ 15 w 284"/>
                <a:gd name="T41" fmla="*/ 667 h 745"/>
                <a:gd name="T42" fmla="*/ 4 w 284"/>
                <a:gd name="T43" fmla="*/ 638 h 745"/>
                <a:gd name="T44" fmla="*/ 0 w 284"/>
                <a:gd name="T45" fmla="*/ 605 h 745"/>
                <a:gd name="T46" fmla="*/ 0 w 284"/>
                <a:gd name="T47" fmla="*/ 139 h 745"/>
                <a:gd name="T48" fmla="*/ 4 w 284"/>
                <a:gd name="T49" fmla="*/ 108 h 745"/>
                <a:gd name="T50" fmla="*/ 15 w 284"/>
                <a:gd name="T51" fmla="*/ 78 h 745"/>
                <a:gd name="T52" fmla="*/ 32 w 284"/>
                <a:gd name="T53" fmla="*/ 53 h 745"/>
                <a:gd name="T54" fmla="*/ 54 w 284"/>
                <a:gd name="T55" fmla="*/ 30 h 745"/>
                <a:gd name="T56" fmla="*/ 80 w 284"/>
                <a:gd name="T57" fmla="*/ 14 h 745"/>
                <a:gd name="T58" fmla="*/ 110 w 284"/>
                <a:gd name="T59" fmla="*/ 4 h 745"/>
                <a:gd name="T60" fmla="*/ 143 w 284"/>
                <a:gd name="T61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4" h="745">
                  <a:moveTo>
                    <a:pt x="143" y="0"/>
                  </a:moveTo>
                  <a:lnTo>
                    <a:pt x="175" y="4"/>
                  </a:lnTo>
                  <a:lnTo>
                    <a:pt x="205" y="14"/>
                  </a:lnTo>
                  <a:lnTo>
                    <a:pt x="232" y="30"/>
                  </a:lnTo>
                  <a:lnTo>
                    <a:pt x="254" y="53"/>
                  </a:lnTo>
                  <a:lnTo>
                    <a:pt x="270" y="78"/>
                  </a:lnTo>
                  <a:lnTo>
                    <a:pt x="280" y="108"/>
                  </a:lnTo>
                  <a:lnTo>
                    <a:pt x="284" y="139"/>
                  </a:lnTo>
                  <a:lnTo>
                    <a:pt x="284" y="605"/>
                  </a:lnTo>
                  <a:lnTo>
                    <a:pt x="280" y="638"/>
                  </a:lnTo>
                  <a:lnTo>
                    <a:pt x="270" y="667"/>
                  </a:lnTo>
                  <a:lnTo>
                    <a:pt x="254" y="693"/>
                  </a:lnTo>
                  <a:lnTo>
                    <a:pt x="232" y="714"/>
                  </a:lnTo>
                  <a:lnTo>
                    <a:pt x="205" y="731"/>
                  </a:lnTo>
                  <a:lnTo>
                    <a:pt x="175" y="742"/>
                  </a:lnTo>
                  <a:lnTo>
                    <a:pt x="143" y="745"/>
                  </a:lnTo>
                  <a:lnTo>
                    <a:pt x="110" y="742"/>
                  </a:lnTo>
                  <a:lnTo>
                    <a:pt x="80" y="731"/>
                  </a:lnTo>
                  <a:lnTo>
                    <a:pt x="54" y="714"/>
                  </a:lnTo>
                  <a:lnTo>
                    <a:pt x="32" y="693"/>
                  </a:lnTo>
                  <a:lnTo>
                    <a:pt x="15" y="667"/>
                  </a:lnTo>
                  <a:lnTo>
                    <a:pt x="4" y="638"/>
                  </a:lnTo>
                  <a:lnTo>
                    <a:pt x="0" y="605"/>
                  </a:lnTo>
                  <a:lnTo>
                    <a:pt x="0" y="139"/>
                  </a:lnTo>
                  <a:lnTo>
                    <a:pt x="4" y="108"/>
                  </a:lnTo>
                  <a:lnTo>
                    <a:pt x="15" y="78"/>
                  </a:lnTo>
                  <a:lnTo>
                    <a:pt x="32" y="53"/>
                  </a:lnTo>
                  <a:lnTo>
                    <a:pt x="54" y="30"/>
                  </a:lnTo>
                  <a:lnTo>
                    <a:pt x="80" y="14"/>
                  </a:lnTo>
                  <a:lnTo>
                    <a:pt x="110" y="4"/>
                  </a:lnTo>
                  <a:lnTo>
                    <a:pt x="1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/>
          </p:nvSpPr>
          <p:spPr bwMode="auto">
            <a:xfrm>
              <a:off x="1347" y="1523"/>
              <a:ext cx="142" cy="466"/>
            </a:xfrm>
            <a:custGeom>
              <a:avLst/>
              <a:gdLst>
                <a:gd name="T0" fmla="*/ 142 w 284"/>
                <a:gd name="T1" fmla="*/ 0 h 932"/>
                <a:gd name="T2" fmla="*/ 174 w 284"/>
                <a:gd name="T3" fmla="*/ 4 h 932"/>
                <a:gd name="T4" fmla="*/ 205 w 284"/>
                <a:gd name="T5" fmla="*/ 15 h 932"/>
                <a:gd name="T6" fmla="*/ 230 w 284"/>
                <a:gd name="T7" fmla="*/ 31 h 932"/>
                <a:gd name="T8" fmla="*/ 253 w 284"/>
                <a:gd name="T9" fmla="*/ 53 h 932"/>
                <a:gd name="T10" fmla="*/ 270 w 284"/>
                <a:gd name="T11" fmla="*/ 79 h 932"/>
                <a:gd name="T12" fmla="*/ 280 w 284"/>
                <a:gd name="T13" fmla="*/ 108 h 932"/>
                <a:gd name="T14" fmla="*/ 284 w 284"/>
                <a:gd name="T15" fmla="*/ 141 h 932"/>
                <a:gd name="T16" fmla="*/ 284 w 284"/>
                <a:gd name="T17" fmla="*/ 792 h 932"/>
                <a:gd name="T18" fmla="*/ 280 w 284"/>
                <a:gd name="T19" fmla="*/ 825 h 932"/>
                <a:gd name="T20" fmla="*/ 270 w 284"/>
                <a:gd name="T21" fmla="*/ 854 h 932"/>
                <a:gd name="T22" fmla="*/ 253 w 284"/>
                <a:gd name="T23" fmla="*/ 880 h 932"/>
                <a:gd name="T24" fmla="*/ 230 w 284"/>
                <a:gd name="T25" fmla="*/ 901 h 932"/>
                <a:gd name="T26" fmla="*/ 205 w 284"/>
                <a:gd name="T27" fmla="*/ 918 h 932"/>
                <a:gd name="T28" fmla="*/ 174 w 284"/>
                <a:gd name="T29" fmla="*/ 929 h 932"/>
                <a:gd name="T30" fmla="*/ 142 w 284"/>
                <a:gd name="T31" fmla="*/ 932 h 932"/>
                <a:gd name="T32" fmla="*/ 109 w 284"/>
                <a:gd name="T33" fmla="*/ 929 h 932"/>
                <a:gd name="T34" fmla="*/ 80 w 284"/>
                <a:gd name="T35" fmla="*/ 918 h 932"/>
                <a:gd name="T36" fmla="*/ 53 w 284"/>
                <a:gd name="T37" fmla="*/ 901 h 932"/>
                <a:gd name="T38" fmla="*/ 32 w 284"/>
                <a:gd name="T39" fmla="*/ 880 h 932"/>
                <a:gd name="T40" fmla="*/ 15 w 284"/>
                <a:gd name="T41" fmla="*/ 854 h 932"/>
                <a:gd name="T42" fmla="*/ 4 w 284"/>
                <a:gd name="T43" fmla="*/ 825 h 932"/>
                <a:gd name="T44" fmla="*/ 0 w 284"/>
                <a:gd name="T45" fmla="*/ 792 h 932"/>
                <a:gd name="T46" fmla="*/ 0 w 284"/>
                <a:gd name="T47" fmla="*/ 141 h 932"/>
                <a:gd name="T48" fmla="*/ 4 w 284"/>
                <a:gd name="T49" fmla="*/ 108 h 932"/>
                <a:gd name="T50" fmla="*/ 15 w 284"/>
                <a:gd name="T51" fmla="*/ 79 h 932"/>
                <a:gd name="T52" fmla="*/ 32 w 284"/>
                <a:gd name="T53" fmla="*/ 53 h 932"/>
                <a:gd name="T54" fmla="*/ 53 w 284"/>
                <a:gd name="T55" fmla="*/ 31 h 932"/>
                <a:gd name="T56" fmla="*/ 80 w 284"/>
                <a:gd name="T57" fmla="*/ 15 h 932"/>
                <a:gd name="T58" fmla="*/ 109 w 284"/>
                <a:gd name="T59" fmla="*/ 4 h 932"/>
                <a:gd name="T60" fmla="*/ 142 w 284"/>
                <a:gd name="T61" fmla="*/ 0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4" h="932">
                  <a:moveTo>
                    <a:pt x="142" y="0"/>
                  </a:moveTo>
                  <a:lnTo>
                    <a:pt x="174" y="4"/>
                  </a:lnTo>
                  <a:lnTo>
                    <a:pt x="205" y="15"/>
                  </a:lnTo>
                  <a:lnTo>
                    <a:pt x="230" y="31"/>
                  </a:lnTo>
                  <a:lnTo>
                    <a:pt x="253" y="53"/>
                  </a:lnTo>
                  <a:lnTo>
                    <a:pt x="270" y="79"/>
                  </a:lnTo>
                  <a:lnTo>
                    <a:pt x="280" y="108"/>
                  </a:lnTo>
                  <a:lnTo>
                    <a:pt x="284" y="141"/>
                  </a:lnTo>
                  <a:lnTo>
                    <a:pt x="284" y="792"/>
                  </a:lnTo>
                  <a:lnTo>
                    <a:pt x="280" y="825"/>
                  </a:lnTo>
                  <a:lnTo>
                    <a:pt x="270" y="854"/>
                  </a:lnTo>
                  <a:lnTo>
                    <a:pt x="253" y="880"/>
                  </a:lnTo>
                  <a:lnTo>
                    <a:pt x="230" y="901"/>
                  </a:lnTo>
                  <a:lnTo>
                    <a:pt x="205" y="918"/>
                  </a:lnTo>
                  <a:lnTo>
                    <a:pt x="174" y="929"/>
                  </a:lnTo>
                  <a:lnTo>
                    <a:pt x="142" y="932"/>
                  </a:lnTo>
                  <a:lnTo>
                    <a:pt x="109" y="929"/>
                  </a:lnTo>
                  <a:lnTo>
                    <a:pt x="80" y="918"/>
                  </a:lnTo>
                  <a:lnTo>
                    <a:pt x="53" y="901"/>
                  </a:lnTo>
                  <a:lnTo>
                    <a:pt x="32" y="880"/>
                  </a:lnTo>
                  <a:lnTo>
                    <a:pt x="15" y="854"/>
                  </a:lnTo>
                  <a:lnTo>
                    <a:pt x="4" y="825"/>
                  </a:lnTo>
                  <a:lnTo>
                    <a:pt x="0" y="792"/>
                  </a:lnTo>
                  <a:lnTo>
                    <a:pt x="0" y="141"/>
                  </a:lnTo>
                  <a:lnTo>
                    <a:pt x="4" y="108"/>
                  </a:lnTo>
                  <a:lnTo>
                    <a:pt x="15" y="79"/>
                  </a:lnTo>
                  <a:lnTo>
                    <a:pt x="32" y="53"/>
                  </a:lnTo>
                  <a:lnTo>
                    <a:pt x="53" y="31"/>
                  </a:lnTo>
                  <a:lnTo>
                    <a:pt x="80" y="15"/>
                  </a:lnTo>
                  <a:lnTo>
                    <a:pt x="109" y="4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auto">
            <a:xfrm>
              <a:off x="1584" y="1430"/>
              <a:ext cx="141" cy="559"/>
            </a:xfrm>
            <a:custGeom>
              <a:avLst/>
              <a:gdLst>
                <a:gd name="T0" fmla="*/ 141 w 283"/>
                <a:gd name="T1" fmla="*/ 0 h 1118"/>
                <a:gd name="T2" fmla="*/ 173 w 283"/>
                <a:gd name="T3" fmla="*/ 4 h 1118"/>
                <a:gd name="T4" fmla="*/ 204 w 283"/>
                <a:gd name="T5" fmla="*/ 14 h 1118"/>
                <a:gd name="T6" fmla="*/ 229 w 283"/>
                <a:gd name="T7" fmla="*/ 30 h 1118"/>
                <a:gd name="T8" fmla="*/ 252 w 283"/>
                <a:gd name="T9" fmla="*/ 53 h 1118"/>
                <a:gd name="T10" fmla="*/ 269 w 283"/>
                <a:gd name="T11" fmla="*/ 78 h 1118"/>
                <a:gd name="T12" fmla="*/ 279 w 283"/>
                <a:gd name="T13" fmla="*/ 108 h 1118"/>
                <a:gd name="T14" fmla="*/ 283 w 283"/>
                <a:gd name="T15" fmla="*/ 140 h 1118"/>
                <a:gd name="T16" fmla="*/ 283 w 283"/>
                <a:gd name="T17" fmla="*/ 978 h 1118"/>
                <a:gd name="T18" fmla="*/ 279 w 283"/>
                <a:gd name="T19" fmla="*/ 1011 h 1118"/>
                <a:gd name="T20" fmla="*/ 269 w 283"/>
                <a:gd name="T21" fmla="*/ 1040 h 1118"/>
                <a:gd name="T22" fmla="*/ 252 w 283"/>
                <a:gd name="T23" fmla="*/ 1066 h 1118"/>
                <a:gd name="T24" fmla="*/ 229 w 283"/>
                <a:gd name="T25" fmla="*/ 1087 h 1118"/>
                <a:gd name="T26" fmla="*/ 204 w 283"/>
                <a:gd name="T27" fmla="*/ 1104 h 1118"/>
                <a:gd name="T28" fmla="*/ 173 w 283"/>
                <a:gd name="T29" fmla="*/ 1115 h 1118"/>
                <a:gd name="T30" fmla="*/ 141 w 283"/>
                <a:gd name="T31" fmla="*/ 1118 h 1118"/>
                <a:gd name="T32" fmla="*/ 108 w 283"/>
                <a:gd name="T33" fmla="*/ 1115 h 1118"/>
                <a:gd name="T34" fmla="*/ 79 w 283"/>
                <a:gd name="T35" fmla="*/ 1104 h 1118"/>
                <a:gd name="T36" fmla="*/ 52 w 283"/>
                <a:gd name="T37" fmla="*/ 1087 h 1118"/>
                <a:gd name="T38" fmla="*/ 30 w 283"/>
                <a:gd name="T39" fmla="*/ 1066 h 1118"/>
                <a:gd name="T40" fmla="*/ 14 w 283"/>
                <a:gd name="T41" fmla="*/ 1040 h 1118"/>
                <a:gd name="T42" fmla="*/ 4 w 283"/>
                <a:gd name="T43" fmla="*/ 1011 h 1118"/>
                <a:gd name="T44" fmla="*/ 0 w 283"/>
                <a:gd name="T45" fmla="*/ 978 h 1118"/>
                <a:gd name="T46" fmla="*/ 0 w 283"/>
                <a:gd name="T47" fmla="*/ 140 h 1118"/>
                <a:gd name="T48" fmla="*/ 4 w 283"/>
                <a:gd name="T49" fmla="*/ 108 h 1118"/>
                <a:gd name="T50" fmla="*/ 14 w 283"/>
                <a:gd name="T51" fmla="*/ 78 h 1118"/>
                <a:gd name="T52" fmla="*/ 30 w 283"/>
                <a:gd name="T53" fmla="*/ 53 h 1118"/>
                <a:gd name="T54" fmla="*/ 52 w 283"/>
                <a:gd name="T55" fmla="*/ 30 h 1118"/>
                <a:gd name="T56" fmla="*/ 79 w 283"/>
                <a:gd name="T57" fmla="*/ 14 h 1118"/>
                <a:gd name="T58" fmla="*/ 108 w 283"/>
                <a:gd name="T59" fmla="*/ 4 h 1118"/>
                <a:gd name="T60" fmla="*/ 141 w 283"/>
                <a:gd name="T61" fmla="*/ 0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3" h="1118">
                  <a:moveTo>
                    <a:pt x="141" y="0"/>
                  </a:moveTo>
                  <a:lnTo>
                    <a:pt x="173" y="4"/>
                  </a:lnTo>
                  <a:lnTo>
                    <a:pt x="204" y="14"/>
                  </a:lnTo>
                  <a:lnTo>
                    <a:pt x="229" y="30"/>
                  </a:lnTo>
                  <a:lnTo>
                    <a:pt x="252" y="53"/>
                  </a:lnTo>
                  <a:lnTo>
                    <a:pt x="269" y="78"/>
                  </a:lnTo>
                  <a:lnTo>
                    <a:pt x="279" y="108"/>
                  </a:lnTo>
                  <a:lnTo>
                    <a:pt x="283" y="140"/>
                  </a:lnTo>
                  <a:lnTo>
                    <a:pt x="283" y="978"/>
                  </a:lnTo>
                  <a:lnTo>
                    <a:pt x="279" y="1011"/>
                  </a:lnTo>
                  <a:lnTo>
                    <a:pt x="269" y="1040"/>
                  </a:lnTo>
                  <a:lnTo>
                    <a:pt x="252" y="1066"/>
                  </a:lnTo>
                  <a:lnTo>
                    <a:pt x="229" y="1087"/>
                  </a:lnTo>
                  <a:lnTo>
                    <a:pt x="204" y="1104"/>
                  </a:lnTo>
                  <a:lnTo>
                    <a:pt x="173" y="1115"/>
                  </a:lnTo>
                  <a:lnTo>
                    <a:pt x="141" y="1118"/>
                  </a:lnTo>
                  <a:lnTo>
                    <a:pt x="108" y="1115"/>
                  </a:lnTo>
                  <a:lnTo>
                    <a:pt x="79" y="1104"/>
                  </a:lnTo>
                  <a:lnTo>
                    <a:pt x="52" y="1087"/>
                  </a:lnTo>
                  <a:lnTo>
                    <a:pt x="30" y="1066"/>
                  </a:lnTo>
                  <a:lnTo>
                    <a:pt x="14" y="1040"/>
                  </a:lnTo>
                  <a:lnTo>
                    <a:pt x="4" y="1011"/>
                  </a:lnTo>
                  <a:lnTo>
                    <a:pt x="0" y="978"/>
                  </a:lnTo>
                  <a:lnTo>
                    <a:pt x="0" y="140"/>
                  </a:lnTo>
                  <a:lnTo>
                    <a:pt x="4" y="108"/>
                  </a:lnTo>
                  <a:lnTo>
                    <a:pt x="14" y="78"/>
                  </a:lnTo>
                  <a:lnTo>
                    <a:pt x="30" y="53"/>
                  </a:lnTo>
                  <a:lnTo>
                    <a:pt x="52" y="30"/>
                  </a:lnTo>
                  <a:lnTo>
                    <a:pt x="79" y="14"/>
                  </a:lnTo>
                  <a:lnTo>
                    <a:pt x="108" y="4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/>
            <p:cNvSpPr>
              <a:spLocks/>
            </p:cNvSpPr>
            <p:nvPr/>
          </p:nvSpPr>
          <p:spPr bwMode="auto">
            <a:xfrm>
              <a:off x="780" y="941"/>
              <a:ext cx="2080" cy="1351"/>
            </a:xfrm>
            <a:custGeom>
              <a:avLst/>
              <a:gdLst>
                <a:gd name="T0" fmla="*/ 3971 w 4159"/>
                <a:gd name="T1" fmla="*/ 0 h 2702"/>
                <a:gd name="T2" fmla="*/ 4045 w 4159"/>
                <a:gd name="T3" fmla="*/ 14 h 2702"/>
                <a:gd name="T4" fmla="*/ 4105 w 4159"/>
                <a:gd name="T5" fmla="*/ 54 h 2702"/>
                <a:gd name="T6" fmla="*/ 4145 w 4159"/>
                <a:gd name="T7" fmla="*/ 113 h 2702"/>
                <a:gd name="T8" fmla="*/ 4159 w 4159"/>
                <a:gd name="T9" fmla="*/ 186 h 2702"/>
                <a:gd name="T10" fmla="*/ 3906 w 4159"/>
                <a:gd name="T11" fmla="*/ 2048 h 2702"/>
                <a:gd name="T12" fmla="*/ 3977 w 4159"/>
                <a:gd name="T13" fmla="*/ 1893 h 2702"/>
                <a:gd name="T14" fmla="*/ 4022 w 4159"/>
                <a:gd name="T15" fmla="*/ 1729 h 2702"/>
                <a:gd name="T16" fmla="*/ 4037 w 4159"/>
                <a:gd name="T17" fmla="*/ 1559 h 2702"/>
                <a:gd name="T18" fmla="*/ 4023 w 4159"/>
                <a:gd name="T19" fmla="*/ 1397 h 2702"/>
                <a:gd name="T20" fmla="*/ 3985 w 4159"/>
                <a:gd name="T21" fmla="*/ 1242 h 2702"/>
                <a:gd name="T22" fmla="*/ 3921 w 4159"/>
                <a:gd name="T23" fmla="*/ 1096 h 2702"/>
                <a:gd name="T24" fmla="*/ 3833 w 4159"/>
                <a:gd name="T25" fmla="*/ 961 h 2702"/>
                <a:gd name="T26" fmla="*/ 3781 w 4159"/>
                <a:gd name="T27" fmla="*/ 373 h 2702"/>
                <a:gd name="T28" fmla="*/ 378 w 4159"/>
                <a:gd name="T29" fmla="*/ 2329 h 2702"/>
                <a:gd name="T30" fmla="*/ 2438 w 4159"/>
                <a:gd name="T31" fmla="*/ 2377 h 2702"/>
                <a:gd name="T32" fmla="*/ 2571 w 4159"/>
                <a:gd name="T33" fmla="*/ 2455 h 2702"/>
                <a:gd name="T34" fmla="*/ 2713 w 4159"/>
                <a:gd name="T35" fmla="*/ 2512 h 2702"/>
                <a:gd name="T36" fmla="*/ 2865 w 4159"/>
                <a:gd name="T37" fmla="*/ 2548 h 2702"/>
                <a:gd name="T38" fmla="*/ 3022 w 4159"/>
                <a:gd name="T39" fmla="*/ 2559 h 2702"/>
                <a:gd name="T40" fmla="*/ 3195 w 4159"/>
                <a:gd name="T41" fmla="*/ 2544 h 2702"/>
                <a:gd name="T42" fmla="*/ 3362 w 4159"/>
                <a:gd name="T43" fmla="*/ 2501 h 2702"/>
                <a:gd name="T44" fmla="*/ 3519 w 4159"/>
                <a:gd name="T45" fmla="*/ 2430 h 2702"/>
                <a:gd name="T46" fmla="*/ 3786 w 4159"/>
                <a:gd name="T47" fmla="*/ 2693 h 2702"/>
                <a:gd name="T48" fmla="*/ 3798 w 4159"/>
                <a:gd name="T49" fmla="*/ 2702 h 2702"/>
                <a:gd name="T50" fmla="*/ 152 w 4159"/>
                <a:gd name="T51" fmla="*/ 2698 h 2702"/>
                <a:gd name="T52" fmla="*/ 84 w 4159"/>
                <a:gd name="T53" fmla="*/ 2671 h 2702"/>
                <a:gd name="T54" fmla="*/ 32 w 4159"/>
                <a:gd name="T55" fmla="*/ 2619 h 2702"/>
                <a:gd name="T56" fmla="*/ 4 w 4159"/>
                <a:gd name="T57" fmla="*/ 2553 h 2702"/>
                <a:gd name="T58" fmla="*/ 0 w 4159"/>
                <a:gd name="T59" fmla="*/ 186 h 2702"/>
                <a:gd name="T60" fmla="*/ 15 w 4159"/>
                <a:gd name="T61" fmla="*/ 114 h 2702"/>
                <a:gd name="T62" fmla="*/ 56 w 4159"/>
                <a:gd name="T63" fmla="*/ 54 h 2702"/>
                <a:gd name="T64" fmla="*/ 116 w 4159"/>
                <a:gd name="T65" fmla="*/ 14 h 2702"/>
                <a:gd name="T66" fmla="*/ 190 w 4159"/>
                <a:gd name="T67" fmla="*/ 0 h 2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59" h="2702">
                  <a:moveTo>
                    <a:pt x="190" y="0"/>
                  </a:moveTo>
                  <a:lnTo>
                    <a:pt x="3971" y="0"/>
                  </a:lnTo>
                  <a:lnTo>
                    <a:pt x="4009" y="4"/>
                  </a:lnTo>
                  <a:lnTo>
                    <a:pt x="4045" y="14"/>
                  </a:lnTo>
                  <a:lnTo>
                    <a:pt x="4077" y="31"/>
                  </a:lnTo>
                  <a:lnTo>
                    <a:pt x="4105" y="54"/>
                  </a:lnTo>
                  <a:lnTo>
                    <a:pt x="4128" y="82"/>
                  </a:lnTo>
                  <a:lnTo>
                    <a:pt x="4145" y="113"/>
                  </a:lnTo>
                  <a:lnTo>
                    <a:pt x="4156" y="148"/>
                  </a:lnTo>
                  <a:lnTo>
                    <a:pt x="4159" y="186"/>
                  </a:lnTo>
                  <a:lnTo>
                    <a:pt x="4159" y="2299"/>
                  </a:lnTo>
                  <a:lnTo>
                    <a:pt x="3906" y="2048"/>
                  </a:lnTo>
                  <a:lnTo>
                    <a:pt x="3945" y="1973"/>
                  </a:lnTo>
                  <a:lnTo>
                    <a:pt x="3977" y="1893"/>
                  </a:lnTo>
                  <a:lnTo>
                    <a:pt x="4003" y="1813"/>
                  </a:lnTo>
                  <a:lnTo>
                    <a:pt x="4022" y="1729"/>
                  </a:lnTo>
                  <a:lnTo>
                    <a:pt x="4033" y="1645"/>
                  </a:lnTo>
                  <a:lnTo>
                    <a:pt x="4037" y="1559"/>
                  </a:lnTo>
                  <a:lnTo>
                    <a:pt x="4033" y="1478"/>
                  </a:lnTo>
                  <a:lnTo>
                    <a:pt x="4023" y="1397"/>
                  </a:lnTo>
                  <a:lnTo>
                    <a:pt x="4007" y="1318"/>
                  </a:lnTo>
                  <a:lnTo>
                    <a:pt x="3985" y="1242"/>
                  </a:lnTo>
                  <a:lnTo>
                    <a:pt x="3956" y="1168"/>
                  </a:lnTo>
                  <a:lnTo>
                    <a:pt x="3921" y="1096"/>
                  </a:lnTo>
                  <a:lnTo>
                    <a:pt x="3880" y="1026"/>
                  </a:lnTo>
                  <a:lnTo>
                    <a:pt x="3833" y="961"/>
                  </a:lnTo>
                  <a:lnTo>
                    <a:pt x="3781" y="898"/>
                  </a:lnTo>
                  <a:lnTo>
                    <a:pt x="3781" y="373"/>
                  </a:lnTo>
                  <a:lnTo>
                    <a:pt x="378" y="373"/>
                  </a:lnTo>
                  <a:lnTo>
                    <a:pt x="378" y="2329"/>
                  </a:lnTo>
                  <a:lnTo>
                    <a:pt x="2376" y="2329"/>
                  </a:lnTo>
                  <a:lnTo>
                    <a:pt x="2438" y="2377"/>
                  </a:lnTo>
                  <a:lnTo>
                    <a:pt x="2503" y="2418"/>
                  </a:lnTo>
                  <a:lnTo>
                    <a:pt x="2571" y="2455"/>
                  </a:lnTo>
                  <a:lnTo>
                    <a:pt x="2641" y="2486"/>
                  </a:lnTo>
                  <a:lnTo>
                    <a:pt x="2713" y="2512"/>
                  </a:lnTo>
                  <a:lnTo>
                    <a:pt x="2789" y="2533"/>
                  </a:lnTo>
                  <a:lnTo>
                    <a:pt x="2865" y="2548"/>
                  </a:lnTo>
                  <a:lnTo>
                    <a:pt x="2943" y="2556"/>
                  </a:lnTo>
                  <a:lnTo>
                    <a:pt x="3022" y="2559"/>
                  </a:lnTo>
                  <a:lnTo>
                    <a:pt x="3110" y="2555"/>
                  </a:lnTo>
                  <a:lnTo>
                    <a:pt x="3195" y="2544"/>
                  </a:lnTo>
                  <a:lnTo>
                    <a:pt x="3279" y="2526"/>
                  </a:lnTo>
                  <a:lnTo>
                    <a:pt x="3362" y="2501"/>
                  </a:lnTo>
                  <a:lnTo>
                    <a:pt x="3442" y="2468"/>
                  </a:lnTo>
                  <a:lnTo>
                    <a:pt x="3519" y="2430"/>
                  </a:lnTo>
                  <a:lnTo>
                    <a:pt x="3781" y="2688"/>
                  </a:lnTo>
                  <a:lnTo>
                    <a:pt x="3786" y="2693"/>
                  </a:lnTo>
                  <a:lnTo>
                    <a:pt x="3793" y="2697"/>
                  </a:lnTo>
                  <a:lnTo>
                    <a:pt x="3798" y="2702"/>
                  </a:lnTo>
                  <a:lnTo>
                    <a:pt x="190" y="2702"/>
                  </a:lnTo>
                  <a:lnTo>
                    <a:pt x="152" y="2698"/>
                  </a:lnTo>
                  <a:lnTo>
                    <a:pt x="116" y="2687"/>
                  </a:lnTo>
                  <a:lnTo>
                    <a:pt x="84" y="2671"/>
                  </a:lnTo>
                  <a:lnTo>
                    <a:pt x="56" y="2647"/>
                  </a:lnTo>
                  <a:lnTo>
                    <a:pt x="32" y="2619"/>
                  </a:lnTo>
                  <a:lnTo>
                    <a:pt x="15" y="2588"/>
                  </a:lnTo>
                  <a:lnTo>
                    <a:pt x="4" y="2553"/>
                  </a:lnTo>
                  <a:lnTo>
                    <a:pt x="0" y="2516"/>
                  </a:lnTo>
                  <a:lnTo>
                    <a:pt x="0" y="186"/>
                  </a:lnTo>
                  <a:lnTo>
                    <a:pt x="4" y="148"/>
                  </a:lnTo>
                  <a:lnTo>
                    <a:pt x="15" y="114"/>
                  </a:lnTo>
                  <a:lnTo>
                    <a:pt x="32" y="82"/>
                  </a:lnTo>
                  <a:lnTo>
                    <a:pt x="56" y="54"/>
                  </a:lnTo>
                  <a:lnTo>
                    <a:pt x="84" y="31"/>
                  </a:lnTo>
                  <a:lnTo>
                    <a:pt x="116" y="14"/>
                  </a:lnTo>
                  <a:lnTo>
                    <a:pt x="152" y="4"/>
                  </a:lnTo>
                  <a:lnTo>
                    <a:pt x="1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1878" y="1314"/>
              <a:ext cx="931" cy="917"/>
            </a:xfrm>
            <a:custGeom>
              <a:avLst/>
              <a:gdLst>
                <a:gd name="T0" fmla="*/ 697 w 1863"/>
                <a:gd name="T1" fmla="*/ 179 h 1834"/>
                <a:gd name="T2" fmla="*/ 517 w 1863"/>
                <a:gd name="T3" fmla="*/ 242 h 1834"/>
                <a:gd name="T4" fmla="*/ 362 w 1863"/>
                <a:gd name="T5" fmla="*/ 356 h 1834"/>
                <a:gd name="T6" fmla="*/ 247 w 1863"/>
                <a:gd name="T7" fmla="*/ 508 h 1834"/>
                <a:gd name="T8" fmla="*/ 182 w 1863"/>
                <a:gd name="T9" fmla="*/ 687 h 1834"/>
                <a:gd name="T10" fmla="*/ 174 w 1863"/>
                <a:gd name="T11" fmla="*/ 877 h 1834"/>
                <a:gd name="T12" fmla="*/ 219 w 1863"/>
                <a:gd name="T13" fmla="*/ 1061 h 1834"/>
                <a:gd name="T14" fmla="*/ 319 w 1863"/>
                <a:gd name="T15" fmla="*/ 1223 h 1834"/>
                <a:gd name="T16" fmla="*/ 463 w 1863"/>
                <a:gd name="T17" fmla="*/ 1351 h 1834"/>
                <a:gd name="T18" fmla="*/ 635 w 1863"/>
                <a:gd name="T19" fmla="*/ 1432 h 1834"/>
                <a:gd name="T20" fmla="*/ 826 w 1863"/>
                <a:gd name="T21" fmla="*/ 1460 h 1834"/>
                <a:gd name="T22" fmla="*/ 1017 w 1863"/>
                <a:gd name="T23" fmla="*/ 1432 h 1834"/>
                <a:gd name="T24" fmla="*/ 1190 w 1863"/>
                <a:gd name="T25" fmla="*/ 1351 h 1834"/>
                <a:gd name="T26" fmla="*/ 1334 w 1863"/>
                <a:gd name="T27" fmla="*/ 1223 h 1834"/>
                <a:gd name="T28" fmla="*/ 1432 w 1863"/>
                <a:gd name="T29" fmla="*/ 1061 h 1834"/>
                <a:gd name="T30" fmla="*/ 1479 w 1863"/>
                <a:gd name="T31" fmla="*/ 877 h 1834"/>
                <a:gd name="T32" fmla="*/ 1469 w 1863"/>
                <a:gd name="T33" fmla="*/ 687 h 1834"/>
                <a:gd name="T34" fmla="*/ 1405 w 1863"/>
                <a:gd name="T35" fmla="*/ 508 h 1834"/>
                <a:gd name="T36" fmla="*/ 1291 w 1863"/>
                <a:gd name="T37" fmla="*/ 356 h 1834"/>
                <a:gd name="T38" fmla="*/ 1135 w 1863"/>
                <a:gd name="T39" fmla="*/ 242 h 1834"/>
                <a:gd name="T40" fmla="*/ 956 w 1863"/>
                <a:gd name="T41" fmla="*/ 179 h 1834"/>
                <a:gd name="T42" fmla="*/ 826 w 1863"/>
                <a:gd name="T43" fmla="*/ 0 h 1834"/>
                <a:gd name="T44" fmla="*/ 1041 w 1863"/>
                <a:gd name="T45" fmla="*/ 27 h 1834"/>
                <a:gd name="T46" fmla="*/ 1239 w 1863"/>
                <a:gd name="T47" fmla="*/ 108 h 1834"/>
                <a:gd name="T48" fmla="*/ 1411 w 1863"/>
                <a:gd name="T49" fmla="*/ 238 h 1834"/>
                <a:gd name="T50" fmla="*/ 1542 w 1863"/>
                <a:gd name="T51" fmla="*/ 407 h 1834"/>
                <a:gd name="T52" fmla="*/ 1623 w 1863"/>
                <a:gd name="T53" fmla="*/ 601 h 1834"/>
                <a:gd name="T54" fmla="*/ 1651 w 1863"/>
                <a:gd name="T55" fmla="*/ 813 h 1834"/>
                <a:gd name="T56" fmla="*/ 1621 w 1863"/>
                <a:gd name="T57" fmla="*/ 1032 h 1834"/>
                <a:gd name="T58" fmla="*/ 1534 w 1863"/>
                <a:gd name="T59" fmla="*/ 1232 h 1834"/>
                <a:gd name="T60" fmla="*/ 1484 w 1863"/>
                <a:gd name="T61" fmla="*/ 1389 h 1834"/>
                <a:gd name="T62" fmla="*/ 1539 w 1863"/>
                <a:gd name="T63" fmla="*/ 1401 h 1834"/>
                <a:gd name="T64" fmla="*/ 1853 w 1863"/>
                <a:gd name="T65" fmla="*/ 1711 h 1834"/>
                <a:gd name="T66" fmla="*/ 1860 w 1863"/>
                <a:gd name="T67" fmla="*/ 1773 h 1834"/>
                <a:gd name="T68" fmla="*/ 1821 w 1863"/>
                <a:gd name="T69" fmla="*/ 1824 h 1834"/>
                <a:gd name="T70" fmla="*/ 1757 w 1863"/>
                <a:gd name="T71" fmla="*/ 1832 h 1834"/>
                <a:gd name="T72" fmla="*/ 1435 w 1863"/>
                <a:gd name="T73" fmla="*/ 1530 h 1834"/>
                <a:gd name="T74" fmla="*/ 1411 w 1863"/>
                <a:gd name="T75" fmla="*/ 1481 h 1834"/>
                <a:gd name="T76" fmla="*/ 1312 w 1863"/>
                <a:gd name="T77" fmla="*/ 1470 h 1834"/>
                <a:gd name="T78" fmla="*/ 1118 w 1863"/>
                <a:gd name="T79" fmla="*/ 1574 h 1834"/>
                <a:gd name="T80" fmla="*/ 901 w 1863"/>
                <a:gd name="T81" fmla="*/ 1623 h 1834"/>
                <a:gd name="T82" fmla="*/ 682 w 1863"/>
                <a:gd name="T83" fmla="*/ 1615 h 1834"/>
                <a:gd name="T84" fmla="*/ 478 w 1863"/>
                <a:gd name="T85" fmla="*/ 1550 h 1834"/>
                <a:gd name="T86" fmla="*/ 297 w 1863"/>
                <a:gd name="T87" fmla="*/ 1437 h 1834"/>
                <a:gd name="T88" fmla="*/ 149 w 1863"/>
                <a:gd name="T89" fmla="*/ 1279 h 1834"/>
                <a:gd name="T90" fmla="*/ 50 w 1863"/>
                <a:gd name="T91" fmla="*/ 1092 h 1834"/>
                <a:gd name="T92" fmla="*/ 4 w 1863"/>
                <a:gd name="T93" fmla="*/ 885 h 1834"/>
                <a:gd name="T94" fmla="*/ 13 w 1863"/>
                <a:gd name="T95" fmla="*/ 670 h 1834"/>
                <a:gd name="T96" fmla="*/ 78 w 1863"/>
                <a:gd name="T97" fmla="*/ 469 h 1834"/>
                <a:gd name="T98" fmla="*/ 193 w 1863"/>
                <a:gd name="T99" fmla="*/ 291 h 1834"/>
                <a:gd name="T100" fmla="*/ 353 w 1863"/>
                <a:gd name="T101" fmla="*/ 146 h 1834"/>
                <a:gd name="T102" fmla="*/ 543 w 1863"/>
                <a:gd name="T103" fmla="*/ 49 h 1834"/>
                <a:gd name="T104" fmla="*/ 753 w 1863"/>
                <a:gd name="T105" fmla="*/ 2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63" h="1834">
                  <a:moveTo>
                    <a:pt x="826" y="167"/>
                  </a:moveTo>
                  <a:lnTo>
                    <a:pt x="761" y="169"/>
                  </a:lnTo>
                  <a:lnTo>
                    <a:pt x="697" y="179"/>
                  </a:lnTo>
                  <a:lnTo>
                    <a:pt x="635" y="194"/>
                  </a:lnTo>
                  <a:lnTo>
                    <a:pt x="575" y="216"/>
                  </a:lnTo>
                  <a:lnTo>
                    <a:pt x="517" y="242"/>
                  </a:lnTo>
                  <a:lnTo>
                    <a:pt x="463" y="275"/>
                  </a:lnTo>
                  <a:lnTo>
                    <a:pt x="410" y="312"/>
                  </a:lnTo>
                  <a:lnTo>
                    <a:pt x="362" y="356"/>
                  </a:lnTo>
                  <a:lnTo>
                    <a:pt x="319" y="404"/>
                  </a:lnTo>
                  <a:lnTo>
                    <a:pt x="281" y="454"/>
                  </a:lnTo>
                  <a:lnTo>
                    <a:pt x="247" y="508"/>
                  </a:lnTo>
                  <a:lnTo>
                    <a:pt x="219" y="566"/>
                  </a:lnTo>
                  <a:lnTo>
                    <a:pt x="198" y="625"/>
                  </a:lnTo>
                  <a:lnTo>
                    <a:pt x="182" y="687"/>
                  </a:lnTo>
                  <a:lnTo>
                    <a:pt x="174" y="749"/>
                  </a:lnTo>
                  <a:lnTo>
                    <a:pt x="170" y="813"/>
                  </a:lnTo>
                  <a:lnTo>
                    <a:pt x="174" y="877"/>
                  </a:lnTo>
                  <a:lnTo>
                    <a:pt x="182" y="940"/>
                  </a:lnTo>
                  <a:lnTo>
                    <a:pt x="198" y="1002"/>
                  </a:lnTo>
                  <a:lnTo>
                    <a:pt x="219" y="1061"/>
                  </a:lnTo>
                  <a:lnTo>
                    <a:pt x="247" y="1117"/>
                  </a:lnTo>
                  <a:lnTo>
                    <a:pt x="281" y="1171"/>
                  </a:lnTo>
                  <a:lnTo>
                    <a:pt x="319" y="1223"/>
                  </a:lnTo>
                  <a:lnTo>
                    <a:pt x="362" y="1270"/>
                  </a:lnTo>
                  <a:lnTo>
                    <a:pt x="410" y="1313"/>
                  </a:lnTo>
                  <a:lnTo>
                    <a:pt x="463" y="1351"/>
                  </a:lnTo>
                  <a:lnTo>
                    <a:pt x="517" y="1383"/>
                  </a:lnTo>
                  <a:lnTo>
                    <a:pt x="575" y="1411"/>
                  </a:lnTo>
                  <a:lnTo>
                    <a:pt x="635" y="1432"/>
                  </a:lnTo>
                  <a:lnTo>
                    <a:pt x="697" y="1448"/>
                  </a:lnTo>
                  <a:lnTo>
                    <a:pt x="761" y="1456"/>
                  </a:lnTo>
                  <a:lnTo>
                    <a:pt x="826" y="1460"/>
                  </a:lnTo>
                  <a:lnTo>
                    <a:pt x="891" y="1456"/>
                  </a:lnTo>
                  <a:lnTo>
                    <a:pt x="956" y="1448"/>
                  </a:lnTo>
                  <a:lnTo>
                    <a:pt x="1017" y="1432"/>
                  </a:lnTo>
                  <a:lnTo>
                    <a:pt x="1078" y="1411"/>
                  </a:lnTo>
                  <a:lnTo>
                    <a:pt x="1135" y="1383"/>
                  </a:lnTo>
                  <a:lnTo>
                    <a:pt x="1190" y="1351"/>
                  </a:lnTo>
                  <a:lnTo>
                    <a:pt x="1242" y="1313"/>
                  </a:lnTo>
                  <a:lnTo>
                    <a:pt x="1291" y="1270"/>
                  </a:lnTo>
                  <a:lnTo>
                    <a:pt x="1334" y="1223"/>
                  </a:lnTo>
                  <a:lnTo>
                    <a:pt x="1372" y="1171"/>
                  </a:lnTo>
                  <a:lnTo>
                    <a:pt x="1405" y="1117"/>
                  </a:lnTo>
                  <a:lnTo>
                    <a:pt x="1432" y="1061"/>
                  </a:lnTo>
                  <a:lnTo>
                    <a:pt x="1454" y="1002"/>
                  </a:lnTo>
                  <a:lnTo>
                    <a:pt x="1469" y="940"/>
                  </a:lnTo>
                  <a:lnTo>
                    <a:pt x="1479" y="877"/>
                  </a:lnTo>
                  <a:lnTo>
                    <a:pt x="1482" y="813"/>
                  </a:lnTo>
                  <a:lnTo>
                    <a:pt x="1479" y="749"/>
                  </a:lnTo>
                  <a:lnTo>
                    <a:pt x="1469" y="687"/>
                  </a:lnTo>
                  <a:lnTo>
                    <a:pt x="1454" y="625"/>
                  </a:lnTo>
                  <a:lnTo>
                    <a:pt x="1432" y="566"/>
                  </a:lnTo>
                  <a:lnTo>
                    <a:pt x="1405" y="508"/>
                  </a:lnTo>
                  <a:lnTo>
                    <a:pt x="1372" y="454"/>
                  </a:lnTo>
                  <a:lnTo>
                    <a:pt x="1334" y="404"/>
                  </a:lnTo>
                  <a:lnTo>
                    <a:pt x="1291" y="356"/>
                  </a:lnTo>
                  <a:lnTo>
                    <a:pt x="1242" y="312"/>
                  </a:lnTo>
                  <a:lnTo>
                    <a:pt x="1190" y="275"/>
                  </a:lnTo>
                  <a:lnTo>
                    <a:pt x="1135" y="242"/>
                  </a:lnTo>
                  <a:lnTo>
                    <a:pt x="1078" y="216"/>
                  </a:lnTo>
                  <a:lnTo>
                    <a:pt x="1017" y="194"/>
                  </a:lnTo>
                  <a:lnTo>
                    <a:pt x="956" y="179"/>
                  </a:lnTo>
                  <a:lnTo>
                    <a:pt x="891" y="169"/>
                  </a:lnTo>
                  <a:lnTo>
                    <a:pt x="826" y="167"/>
                  </a:lnTo>
                  <a:close/>
                  <a:moveTo>
                    <a:pt x="826" y="0"/>
                  </a:moveTo>
                  <a:lnTo>
                    <a:pt x="900" y="2"/>
                  </a:lnTo>
                  <a:lnTo>
                    <a:pt x="971" y="12"/>
                  </a:lnTo>
                  <a:lnTo>
                    <a:pt x="1041" y="27"/>
                  </a:lnTo>
                  <a:lnTo>
                    <a:pt x="1109" y="49"/>
                  </a:lnTo>
                  <a:lnTo>
                    <a:pt x="1175" y="75"/>
                  </a:lnTo>
                  <a:lnTo>
                    <a:pt x="1239" y="108"/>
                  </a:lnTo>
                  <a:lnTo>
                    <a:pt x="1298" y="146"/>
                  </a:lnTo>
                  <a:lnTo>
                    <a:pt x="1356" y="189"/>
                  </a:lnTo>
                  <a:lnTo>
                    <a:pt x="1411" y="238"/>
                  </a:lnTo>
                  <a:lnTo>
                    <a:pt x="1459" y="291"/>
                  </a:lnTo>
                  <a:lnTo>
                    <a:pt x="1504" y="348"/>
                  </a:lnTo>
                  <a:lnTo>
                    <a:pt x="1542" y="407"/>
                  </a:lnTo>
                  <a:lnTo>
                    <a:pt x="1575" y="469"/>
                  </a:lnTo>
                  <a:lnTo>
                    <a:pt x="1602" y="535"/>
                  </a:lnTo>
                  <a:lnTo>
                    <a:pt x="1623" y="601"/>
                  </a:lnTo>
                  <a:lnTo>
                    <a:pt x="1639" y="670"/>
                  </a:lnTo>
                  <a:lnTo>
                    <a:pt x="1649" y="741"/>
                  </a:lnTo>
                  <a:lnTo>
                    <a:pt x="1651" y="813"/>
                  </a:lnTo>
                  <a:lnTo>
                    <a:pt x="1647" y="888"/>
                  </a:lnTo>
                  <a:lnTo>
                    <a:pt x="1639" y="960"/>
                  </a:lnTo>
                  <a:lnTo>
                    <a:pt x="1621" y="1032"/>
                  </a:lnTo>
                  <a:lnTo>
                    <a:pt x="1598" y="1101"/>
                  </a:lnTo>
                  <a:lnTo>
                    <a:pt x="1568" y="1168"/>
                  </a:lnTo>
                  <a:lnTo>
                    <a:pt x="1534" y="1232"/>
                  </a:lnTo>
                  <a:lnTo>
                    <a:pt x="1492" y="1292"/>
                  </a:lnTo>
                  <a:lnTo>
                    <a:pt x="1445" y="1350"/>
                  </a:lnTo>
                  <a:lnTo>
                    <a:pt x="1484" y="1389"/>
                  </a:lnTo>
                  <a:lnTo>
                    <a:pt x="1504" y="1389"/>
                  </a:lnTo>
                  <a:lnTo>
                    <a:pt x="1521" y="1392"/>
                  </a:lnTo>
                  <a:lnTo>
                    <a:pt x="1539" y="1401"/>
                  </a:lnTo>
                  <a:lnTo>
                    <a:pt x="1554" y="1412"/>
                  </a:lnTo>
                  <a:lnTo>
                    <a:pt x="1839" y="1694"/>
                  </a:lnTo>
                  <a:lnTo>
                    <a:pt x="1853" y="1711"/>
                  </a:lnTo>
                  <a:lnTo>
                    <a:pt x="1860" y="1731"/>
                  </a:lnTo>
                  <a:lnTo>
                    <a:pt x="1863" y="1751"/>
                  </a:lnTo>
                  <a:lnTo>
                    <a:pt x="1860" y="1773"/>
                  </a:lnTo>
                  <a:lnTo>
                    <a:pt x="1853" y="1793"/>
                  </a:lnTo>
                  <a:lnTo>
                    <a:pt x="1839" y="1810"/>
                  </a:lnTo>
                  <a:lnTo>
                    <a:pt x="1821" y="1824"/>
                  </a:lnTo>
                  <a:lnTo>
                    <a:pt x="1800" y="1832"/>
                  </a:lnTo>
                  <a:lnTo>
                    <a:pt x="1779" y="1834"/>
                  </a:lnTo>
                  <a:lnTo>
                    <a:pt x="1757" y="1832"/>
                  </a:lnTo>
                  <a:lnTo>
                    <a:pt x="1737" y="1824"/>
                  </a:lnTo>
                  <a:lnTo>
                    <a:pt x="1719" y="1810"/>
                  </a:lnTo>
                  <a:lnTo>
                    <a:pt x="1435" y="1530"/>
                  </a:lnTo>
                  <a:lnTo>
                    <a:pt x="1422" y="1515"/>
                  </a:lnTo>
                  <a:lnTo>
                    <a:pt x="1414" y="1499"/>
                  </a:lnTo>
                  <a:lnTo>
                    <a:pt x="1411" y="1481"/>
                  </a:lnTo>
                  <a:lnTo>
                    <a:pt x="1411" y="1463"/>
                  </a:lnTo>
                  <a:lnTo>
                    <a:pt x="1371" y="1424"/>
                  </a:lnTo>
                  <a:lnTo>
                    <a:pt x="1312" y="1470"/>
                  </a:lnTo>
                  <a:lnTo>
                    <a:pt x="1250" y="1510"/>
                  </a:lnTo>
                  <a:lnTo>
                    <a:pt x="1185" y="1545"/>
                  </a:lnTo>
                  <a:lnTo>
                    <a:pt x="1118" y="1574"/>
                  </a:lnTo>
                  <a:lnTo>
                    <a:pt x="1047" y="1597"/>
                  </a:lnTo>
                  <a:lnTo>
                    <a:pt x="976" y="1613"/>
                  </a:lnTo>
                  <a:lnTo>
                    <a:pt x="901" y="1623"/>
                  </a:lnTo>
                  <a:lnTo>
                    <a:pt x="826" y="1627"/>
                  </a:lnTo>
                  <a:lnTo>
                    <a:pt x="753" y="1623"/>
                  </a:lnTo>
                  <a:lnTo>
                    <a:pt x="682" y="1615"/>
                  </a:lnTo>
                  <a:lnTo>
                    <a:pt x="612" y="1599"/>
                  </a:lnTo>
                  <a:lnTo>
                    <a:pt x="543" y="1578"/>
                  </a:lnTo>
                  <a:lnTo>
                    <a:pt x="478" y="1550"/>
                  </a:lnTo>
                  <a:lnTo>
                    <a:pt x="414" y="1519"/>
                  </a:lnTo>
                  <a:lnTo>
                    <a:pt x="353" y="1480"/>
                  </a:lnTo>
                  <a:lnTo>
                    <a:pt x="297" y="1437"/>
                  </a:lnTo>
                  <a:lnTo>
                    <a:pt x="242" y="1389"/>
                  </a:lnTo>
                  <a:lnTo>
                    <a:pt x="193" y="1336"/>
                  </a:lnTo>
                  <a:lnTo>
                    <a:pt x="149" y="1279"/>
                  </a:lnTo>
                  <a:lnTo>
                    <a:pt x="111" y="1219"/>
                  </a:lnTo>
                  <a:lnTo>
                    <a:pt x="78" y="1156"/>
                  </a:lnTo>
                  <a:lnTo>
                    <a:pt x="50" y="1092"/>
                  </a:lnTo>
                  <a:lnTo>
                    <a:pt x="28" y="1024"/>
                  </a:lnTo>
                  <a:lnTo>
                    <a:pt x="13" y="955"/>
                  </a:lnTo>
                  <a:lnTo>
                    <a:pt x="4" y="885"/>
                  </a:lnTo>
                  <a:lnTo>
                    <a:pt x="0" y="813"/>
                  </a:lnTo>
                  <a:lnTo>
                    <a:pt x="4" y="741"/>
                  </a:lnTo>
                  <a:lnTo>
                    <a:pt x="13" y="670"/>
                  </a:lnTo>
                  <a:lnTo>
                    <a:pt x="28" y="601"/>
                  </a:lnTo>
                  <a:lnTo>
                    <a:pt x="50" y="535"/>
                  </a:lnTo>
                  <a:lnTo>
                    <a:pt x="78" y="469"/>
                  </a:lnTo>
                  <a:lnTo>
                    <a:pt x="111" y="407"/>
                  </a:lnTo>
                  <a:lnTo>
                    <a:pt x="149" y="348"/>
                  </a:lnTo>
                  <a:lnTo>
                    <a:pt x="193" y="291"/>
                  </a:lnTo>
                  <a:lnTo>
                    <a:pt x="242" y="238"/>
                  </a:lnTo>
                  <a:lnTo>
                    <a:pt x="297" y="189"/>
                  </a:lnTo>
                  <a:lnTo>
                    <a:pt x="353" y="146"/>
                  </a:lnTo>
                  <a:lnTo>
                    <a:pt x="414" y="108"/>
                  </a:lnTo>
                  <a:lnTo>
                    <a:pt x="478" y="75"/>
                  </a:lnTo>
                  <a:lnTo>
                    <a:pt x="543" y="49"/>
                  </a:lnTo>
                  <a:lnTo>
                    <a:pt x="612" y="27"/>
                  </a:lnTo>
                  <a:lnTo>
                    <a:pt x="682" y="12"/>
                  </a:lnTo>
                  <a:lnTo>
                    <a:pt x="753" y="2"/>
                  </a:lnTo>
                  <a:lnTo>
                    <a:pt x="8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r="63318"/>
          <a:stretch/>
        </p:blipFill>
        <p:spPr>
          <a:xfrm>
            <a:off x="7766902" y="5312847"/>
            <a:ext cx="538506" cy="457613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1162052" y="4864806"/>
            <a:ext cx="75903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</a:rPr>
              <a:t>Peran</a:t>
            </a:r>
            <a:r>
              <a:rPr lang="en-US" sz="1400" b="1" dirty="0" smtClean="0">
                <a:solidFill>
                  <a:schemeClr val="bg1"/>
                </a:solidFill>
              </a:rPr>
              <a:t> KPPIP </a:t>
            </a:r>
            <a:r>
              <a:rPr lang="en-US" sz="1400" b="1" dirty="0" err="1">
                <a:solidFill>
                  <a:schemeClr val="bg1"/>
                </a:solidFill>
              </a:rPr>
              <a:t>untuk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percepatan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pelaksanaan</a:t>
            </a:r>
            <a:r>
              <a:rPr lang="en-US" sz="1400" b="1" dirty="0">
                <a:solidFill>
                  <a:schemeClr val="bg1"/>
                </a:solidFill>
              </a:rPr>
              <a:t> PSN</a:t>
            </a:r>
          </a:p>
        </p:txBody>
      </p:sp>
      <p:sp>
        <p:nvSpPr>
          <p:cNvPr id="50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6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66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166124" y="3268577"/>
            <a:ext cx="1240117" cy="1538941"/>
          </a:xfrm>
          <a:prstGeom prst="rect">
            <a:avLst/>
          </a:prstGeom>
          <a:solidFill>
            <a:srgbClr val="FDEADA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357" tIns="52679" rIns="105357" bIns="52679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17475" marR="0" indent="-117475" algn="l" defTabSz="10541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1" charset="0"/>
            </a:endParaRPr>
          </a:p>
        </p:txBody>
      </p:sp>
      <p:sp>
        <p:nvSpPr>
          <p:cNvPr id="28" name="Chevron 27"/>
          <p:cNvSpPr/>
          <p:nvPr/>
        </p:nvSpPr>
        <p:spPr bwMode="auto">
          <a:xfrm>
            <a:off x="1711152" y="6252595"/>
            <a:ext cx="2858467" cy="5175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29" name="Chevron 28"/>
          <p:cNvSpPr/>
          <p:nvPr/>
        </p:nvSpPr>
        <p:spPr bwMode="auto">
          <a:xfrm>
            <a:off x="4415505" y="6252595"/>
            <a:ext cx="2796369" cy="5175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36" name="Pentagon 35"/>
          <p:cNvSpPr/>
          <p:nvPr/>
        </p:nvSpPr>
        <p:spPr bwMode="auto">
          <a:xfrm>
            <a:off x="80588" y="6252594"/>
            <a:ext cx="1797050" cy="512897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54100"/>
            <a:endParaRPr lang="en-US" sz="40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25289" y="6309580"/>
            <a:ext cx="1548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2014</a:t>
            </a: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320033" y="6320861"/>
            <a:ext cx="1548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2015</a:t>
            </a: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071383" y="6320384"/>
            <a:ext cx="1548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2016</a:t>
            </a: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7046646" y="2204281"/>
            <a:ext cx="2736000" cy="38966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05357" tIns="52679" rIns="105357" bIns="52679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17475" marR="0" indent="-117475" algn="l" defTabSz="10541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1" charset="0"/>
            </a:endParaRPr>
          </a:p>
        </p:txBody>
      </p:sp>
      <p:sp>
        <p:nvSpPr>
          <p:cNvPr id="47" name="Chevron 46"/>
          <p:cNvSpPr/>
          <p:nvPr/>
        </p:nvSpPr>
        <p:spPr bwMode="auto">
          <a:xfrm>
            <a:off x="7054934" y="6252595"/>
            <a:ext cx="2539999" cy="517526"/>
          </a:xfrm>
          <a:prstGeom prst="chevron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  <a:p>
            <a:pPr algn="ctr" defTabSz="1054100"/>
            <a:endParaRPr lang="en-US" sz="400" dirty="0">
              <a:solidFill>
                <a:srgbClr val="B89765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645187" y="6327743"/>
            <a:ext cx="1548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2017</a:t>
            </a: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52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420269" y="1512249"/>
            <a:ext cx="8244506" cy="1616501"/>
            <a:chOff x="234" y="794"/>
            <a:chExt cx="4058" cy="998"/>
          </a:xfrm>
        </p:grpSpPr>
        <p:sp>
          <p:nvSpPr>
            <p:cNvPr id="53" name="Arc 15"/>
            <p:cNvSpPr>
              <a:spLocks/>
            </p:cNvSpPr>
            <p:nvPr/>
          </p:nvSpPr>
          <p:spPr bwMode="gray">
            <a:xfrm rot="10800000" flipV="1">
              <a:off x="234" y="1451"/>
              <a:ext cx="1310" cy="341"/>
            </a:xfrm>
            <a:custGeom>
              <a:avLst/>
              <a:gdLst>
                <a:gd name="T0" fmla="*/ 0 w 21600"/>
                <a:gd name="T1" fmla="*/ 0 h 21600"/>
                <a:gd name="T2" fmla="*/ 5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/>
                <a:cs typeface="Arial"/>
              </a:endParaRPr>
            </a:p>
          </p:txBody>
        </p:sp>
        <p:sp>
          <p:nvSpPr>
            <p:cNvPr id="60" name="Arc 16"/>
            <p:cNvSpPr>
              <a:spLocks/>
            </p:cNvSpPr>
            <p:nvPr/>
          </p:nvSpPr>
          <p:spPr bwMode="gray">
            <a:xfrm rot="10800000" flipV="1">
              <a:off x="1545" y="1123"/>
              <a:ext cx="1311" cy="341"/>
            </a:xfrm>
            <a:custGeom>
              <a:avLst/>
              <a:gdLst>
                <a:gd name="T0" fmla="*/ 0 w 21600"/>
                <a:gd name="T1" fmla="*/ 0 h 21600"/>
                <a:gd name="T2" fmla="*/ 5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/>
                <a:cs typeface="Arial"/>
              </a:endParaRPr>
            </a:p>
          </p:txBody>
        </p:sp>
        <p:sp>
          <p:nvSpPr>
            <p:cNvPr id="61" name="Arc 17"/>
            <p:cNvSpPr>
              <a:spLocks/>
            </p:cNvSpPr>
            <p:nvPr/>
          </p:nvSpPr>
          <p:spPr bwMode="gray">
            <a:xfrm rot="10800000" flipV="1">
              <a:off x="2847" y="794"/>
              <a:ext cx="1445" cy="341"/>
            </a:xfrm>
            <a:custGeom>
              <a:avLst/>
              <a:gdLst>
                <a:gd name="T0" fmla="*/ 0 w 21600"/>
                <a:gd name="T1" fmla="*/ 0 h 21600"/>
                <a:gd name="T2" fmla="*/ 5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/>
                <a:cs typeface="Arial"/>
              </a:endParaRPr>
            </a:p>
          </p:txBody>
        </p:sp>
      </p:grpSp>
      <p:sp>
        <p:nvSpPr>
          <p:cNvPr id="6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82878" y="3268420"/>
            <a:ext cx="2385801" cy="2445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id-ID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oject Management Office </a:t>
            </a: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(PMO) KPPIP telah terbentuk dan beroperasi</a:t>
            </a: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Tata Kelola Organisasi (SOP) dan mekanisme</a:t>
            </a:r>
            <a:r>
              <a:rPr lang="id-ID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onitoring &amp; </a:t>
            </a:r>
            <a:r>
              <a:rPr lang="id-ID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bottlenecking</a:t>
            </a: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telah terbentuk</a:t>
            </a: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metaan perbaikan peraturan di sektor infrastruktur</a:t>
            </a:r>
            <a:endParaRPr lang="id-ID" sz="1200" b="0" i="1" dirty="0" smtClean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mbuatan Sistem TI  untuk monitoring pelaksanaan Proyek Prioritas</a:t>
            </a: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id-ID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Rancangan organisasi dan sistem pengadaan telah tersedia</a:t>
            </a:r>
            <a:endParaRPr lang="id-ID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67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098877" y="2605545"/>
            <a:ext cx="2896970" cy="2986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ambah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andat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lalu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rpres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No. 3/2016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untu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monitoring &amp;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evaluas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laksana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PSN</a:t>
            </a: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yelesai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dentifikas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su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ektor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nfrastruktur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hambat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oye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ioritas</a:t>
            </a:r>
            <a:endParaRPr lang="en-US" sz="1200" b="0" dirty="0" smtClean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erap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SOP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kanisme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monitoring &amp;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bottlenecking</a:t>
            </a:r>
            <a:endParaRPr lang="en-US" sz="1200" b="0" dirty="0" smtClean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erap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yempurna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istem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TI agar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iap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igunak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untu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mantau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laksana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PSN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ioritas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KPPIP</a:t>
            </a:r>
          </a:p>
          <a:p>
            <a:pPr marL="235199" lvl="1" indent="-233272" defTabSz="1087313">
              <a:spcBef>
                <a:spcPts val="6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osialisas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ingkat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apasitas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telah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ilakuk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ng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fokus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ad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maham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SOP,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andu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yusun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OBC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uccess story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kanisme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onitori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bottlenecki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oleh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KPPIP</a:t>
            </a:r>
            <a:endParaRPr lang="id-ID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75" name="Oval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5586" y="1502765"/>
            <a:ext cx="2519932" cy="99776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111045" tIns="55522" rIns="111045" bIns="55522" anchor="ctr"/>
          <a:lstStyle/>
          <a:p>
            <a:pPr>
              <a:defRPr/>
            </a:pPr>
            <a:endParaRPr lang="en-US" b="1" kern="0">
              <a:solidFill>
                <a:srgbClr val="000000"/>
              </a:solidFill>
              <a:latin typeface="Arial"/>
              <a:ea typeface="宋体" pitchFamily="2" charset="-122"/>
              <a:cs typeface="Arial"/>
            </a:endParaRPr>
          </a:p>
        </p:txBody>
      </p:sp>
      <p:sp>
        <p:nvSpPr>
          <p:cNvPr id="77" name="Rectangle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22991" y="1570792"/>
            <a:ext cx="2221611" cy="913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4627" tIns="0" rIns="4627" bIns="0" anchor="ctr"/>
          <a:lstStyle/>
          <a:p>
            <a:pPr algn="ctr" defTabSz="1087313">
              <a:buClr>
                <a:srgbClr val="002960"/>
              </a:buClr>
              <a:defRPr/>
            </a:pPr>
            <a:r>
              <a:rPr lang="id-ID" sz="1300" b="1" dirty="0" smtClean="0">
                <a:solidFill>
                  <a:schemeClr val="bg1"/>
                </a:solidFill>
                <a:latin typeface="Arial"/>
                <a:ea typeface="SimSun" charset="0"/>
                <a:cs typeface="Arial"/>
              </a:rPr>
              <a:t>Persiapan operasionalisasi dan pembentukan </a:t>
            </a:r>
            <a:r>
              <a:rPr lang="id-ID" sz="1300" b="1" i="1" dirty="0" smtClean="0">
                <a:solidFill>
                  <a:schemeClr val="bg1"/>
                </a:solidFill>
                <a:latin typeface="Arial"/>
                <a:ea typeface="SimSun" charset="0"/>
                <a:cs typeface="Arial"/>
              </a:rPr>
              <a:t>image</a:t>
            </a:r>
            <a:r>
              <a:rPr lang="id-ID" sz="1300" b="1" dirty="0" smtClean="0">
                <a:solidFill>
                  <a:schemeClr val="bg1"/>
                </a:solidFill>
                <a:latin typeface="Arial"/>
                <a:ea typeface="SimSun" charset="0"/>
                <a:cs typeface="Arial"/>
              </a:rPr>
              <a:t> KPPIP  </a:t>
            </a:r>
            <a:endParaRPr lang="en-US" sz="1300" b="1" dirty="0">
              <a:solidFill>
                <a:schemeClr val="bg1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80" name="Oval 2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62251" y="1058955"/>
            <a:ext cx="2519932" cy="99776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111045" tIns="55522" rIns="111045" bIns="55522" anchor="ctr"/>
          <a:lstStyle/>
          <a:p>
            <a:pPr>
              <a:defRPr/>
            </a:pPr>
            <a:endParaRPr lang="en-US" b="1" kern="0">
              <a:solidFill>
                <a:srgbClr val="000000"/>
              </a:solidFill>
              <a:latin typeface="Arial"/>
              <a:ea typeface="宋体" pitchFamily="2" charset="-122"/>
              <a:cs typeface="Arial"/>
            </a:endParaRPr>
          </a:p>
        </p:txBody>
      </p:sp>
      <p:sp>
        <p:nvSpPr>
          <p:cNvPr id="81" name="Rectangle 2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51772" y="1152897"/>
            <a:ext cx="2191780" cy="913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4627" tIns="0" rIns="4627" bIns="0" anchor="ctr"/>
          <a:lstStyle/>
          <a:p>
            <a:pPr algn="ctr" defTabSz="1087313">
              <a:buClr>
                <a:srgbClr val="002960"/>
              </a:buClr>
              <a:defRPr/>
            </a:pPr>
            <a:endParaRPr lang="en-US" sz="1700" b="1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82" name="Oval 2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109769" y="852185"/>
            <a:ext cx="2519932" cy="997763"/>
          </a:xfrm>
          <a:prstGeom prst="ellipse">
            <a:avLst/>
          </a:prstGeom>
          <a:solidFill>
            <a:schemeClr val="accent6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111045" tIns="55522" rIns="111045" bIns="55522" anchor="ctr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>
              <a:defRPr/>
            </a:pPr>
            <a:endParaRPr lang="en-US" b="1" kern="0">
              <a:ln>
                <a:solidFill>
                  <a:srgbClr val="000000"/>
                </a:solidFill>
              </a:ln>
              <a:solidFill>
                <a:srgbClr val="000000"/>
              </a:solidFill>
              <a:latin typeface="Arial"/>
              <a:ea typeface="宋体" pitchFamily="2" charset="-122"/>
              <a:cs typeface="Arial"/>
            </a:endParaRPr>
          </a:p>
        </p:txBody>
      </p:sp>
      <p:sp>
        <p:nvSpPr>
          <p:cNvPr id="83" name="Rectangle 3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31769" y="898840"/>
            <a:ext cx="2309353" cy="9135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4627" tIns="0" rIns="4627" bIns="0" anchor="ctr"/>
          <a:lstStyle/>
          <a:p>
            <a:pPr algn="ctr" defTabSz="1087313">
              <a:buClr>
                <a:srgbClr val="002960"/>
              </a:buClr>
              <a:defRPr/>
            </a:pPr>
            <a:r>
              <a:rPr lang="id-ID" sz="1300" b="1" dirty="0" smtClean="0">
                <a:solidFill>
                  <a:schemeClr val="bg1"/>
                </a:solidFill>
                <a:latin typeface="Arial"/>
                <a:ea typeface="SimSun" charset="0"/>
                <a:cs typeface="Arial"/>
              </a:rPr>
              <a:t>Penciptaan sistem dan lingkungan yang kondusif untuk percepatan proyek infrastruktur </a:t>
            </a:r>
            <a:endParaRPr lang="en-US" sz="1300" b="1" dirty="0">
              <a:solidFill>
                <a:schemeClr val="bg1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84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292084" y="1339071"/>
            <a:ext cx="2476061" cy="51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45" tIns="55522" rIns="111045" bIns="55522">
            <a:spAutoFit/>
          </a:bodyPr>
          <a:lstStyle/>
          <a:p>
            <a:pPr algn="ctr">
              <a:buClr>
                <a:srgbClr val="002960"/>
              </a:buClr>
            </a:pPr>
            <a:r>
              <a:rPr lang="id-ID" sz="1300" b="1" dirty="0" smtClean="0">
                <a:solidFill>
                  <a:schemeClr val="bg1"/>
                </a:solidFill>
                <a:latin typeface="Arial"/>
                <a:ea typeface="SimSun" charset="0"/>
                <a:cs typeface="Arial"/>
              </a:rPr>
              <a:t>Penguatan Kelembagaan KPPIP</a:t>
            </a:r>
            <a:endParaRPr lang="en-US" sz="1300" b="1" dirty="0">
              <a:solidFill>
                <a:schemeClr val="bg1"/>
              </a:solidFill>
              <a:latin typeface="Arial"/>
              <a:ea typeface="SimSun" charset="0"/>
              <a:cs typeface="Arial"/>
            </a:endParaRPr>
          </a:p>
        </p:txBody>
      </p:sp>
      <p:pic>
        <p:nvPicPr>
          <p:cNvPr id="87" name="Picture 86" descr="Screen Shot 2016-02-24 at 12.48.41 PM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604" y="3410608"/>
            <a:ext cx="822414" cy="126560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1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0978" y="5119913"/>
            <a:ext cx="1449721" cy="88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27" lvl="1" algn="ctr" defTabSz="1087313">
              <a:buClr>
                <a:srgbClr val="002960"/>
              </a:buClr>
              <a:buSzPct val="125000"/>
              <a:defRPr/>
            </a:pPr>
            <a:r>
              <a:rPr lang="id-ID" sz="11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erbitan </a:t>
            </a:r>
          </a:p>
          <a:p>
            <a:pPr marL="1927" lvl="1" algn="ctr" defTabSz="1087313">
              <a:buClr>
                <a:srgbClr val="002960"/>
              </a:buClr>
              <a:buSzPct val="125000"/>
              <a:defRPr/>
            </a:pPr>
            <a:r>
              <a:rPr lang="id-ID" sz="11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rpres No. 75/2014 sebagai landasan hukum pendirian dan mandat KPPIP </a:t>
            </a:r>
          </a:p>
        </p:txBody>
      </p:sp>
      <p:sp>
        <p:nvSpPr>
          <p:cNvPr id="3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100643" y="2365583"/>
            <a:ext cx="2610839" cy="2761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35199" lvl="1" indent="-233272" defTabSz="1087313"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Berfokus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ad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upay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yelesai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hambat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oyek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ioritas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lam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rangk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mastik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target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operasional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oye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tercapai</a:t>
            </a:r>
            <a:endParaRPr lang="en-US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ingkat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apasitas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mangku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epenting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,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hususny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terkait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ng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topi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alternatif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dana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kanisme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onitori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&amp;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bottlenecki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ecar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andiri</a:t>
            </a:r>
            <a:endParaRPr lang="en-US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mplementasi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ratur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ebijak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ektor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nfrastruktur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guna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ncapa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target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mbangun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infrastruktur</a:t>
            </a:r>
            <a:endParaRPr lang="en-US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  <a:p>
            <a:pPr marL="235199" lvl="1" indent="-233272" defTabSz="1087313"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dampingan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aparatur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enanggu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jawab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proyek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alam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melakuk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i="1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debottlenecking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PSN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elektif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sesuai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arahan</a:t>
            </a:r>
            <a:r>
              <a:rPr lang="en-US" sz="1200" b="0" dirty="0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 </a:t>
            </a:r>
            <a:r>
              <a:rPr lang="en-US" sz="1200" b="0" dirty="0" err="1" smtClean="0">
                <a:solidFill>
                  <a:srgbClr val="000000"/>
                </a:solidFill>
                <a:latin typeface="Arial"/>
                <a:ea typeface="SimSun" charset="0"/>
                <a:cs typeface="Arial"/>
              </a:rPr>
              <a:t>Komite</a:t>
            </a:r>
            <a:endParaRPr lang="id-ID" sz="1200" b="0" dirty="0">
              <a:solidFill>
                <a:srgbClr val="000000"/>
              </a:solidFill>
              <a:latin typeface="Arial"/>
              <a:ea typeface="SimSun" charset="0"/>
              <a:cs typeface="Arial"/>
            </a:endParaRP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495300" y="32349"/>
            <a:ext cx="8915400" cy="723861"/>
          </a:xfrm>
        </p:spPr>
        <p:txBody>
          <a:bodyPr/>
          <a:lstStyle/>
          <a:p>
            <a:r>
              <a:rPr lang="en-US" sz="2000" dirty="0" err="1" smtClean="0"/>
              <a:t>Fokus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Perkembangan</a:t>
            </a:r>
            <a:r>
              <a:rPr lang="en-US" sz="2000" dirty="0" smtClean="0"/>
              <a:t> KPPIP </a:t>
            </a:r>
            <a:r>
              <a:rPr lang="en-US" sz="2000" dirty="0" err="1" smtClean="0"/>
              <a:t>sejak</a:t>
            </a:r>
            <a:r>
              <a:rPr lang="en-US" sz="2000" dirty="0" smtClean="0"/>
              <a:t> </a:t>
            </a:r>
            <a:r>
              <a:rPr lang="en-US" sz="2000" dirty="0" err="1" smtClean="0"/>
              <a:t>pembentukannya</a:t>
            </a:r>
            <a:r>
              <a:rPr lang="en-US" sz="2000" dirty="0" smtClean="0"/>
              <a:t> </a:t>
            </a:r>
            <a:r>
              <a:rPr lang="en-US" sz="2000" dirty="0" err="1" smtClean="0"/>
              <a:t>pada</a:t>
            </a:r>
            <a:r>
              <a:rPr lang="en-US" sz="2000" dirty="0" smtClean="0"/>
              <a:t> </a:t>
            </a:r>
            <a:r>
              <a:rPr lang="en-US" sz="2000" dirty="0" err="1" smtClean="0"/>
              <a:t>tahun</a:t>
            </a:r>
            <a:r>
              <a:rPr lang="en-US" sz="2000" dirty="0" smtClean="0"/>
              <a:t> 2014 </a:t>
            </a:r>
            <a:r>
              <a:rPr lang="en-US" sz="2000" dirty="0" err="1" smtClean="0"/>
              <a:t>melalui</a:t>
            </a:r>
            <a:r>
              <a:rPr lang="en-US" sz="2000" dirty="0" smtClean="0"/>
              <a:t> </a:t>
            </a:r>
            <a:r>
              <a:rPr lang="en-US" sz="2000" dirty="0" err="1" smtClean="0"/>
              <a:t>Perpres</a:t>
            </a:r>
            <a:r>
              <a:rPr lang="en-US" sz="2000" dirty="0" smtClean="0"/>
              <a:t> No. 75/2014</a:t>
            </a:r>
            <a:endParaRPr lang="en-US" sz="2000" dirty="0"/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7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02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11"/>
          <p:cNvSpPr>
            <a:spLocks noGrp="1"/>
          </p:cNvSpPr>
          <p:nvPr>
            <p:ph type="title"/>
          </p:nvPr>
        </p:nvSpPr>
        <p:spPr>
          <a:xfrm>
            <a:off x="495300" y="186452"/>
            <a:ext cx="8915400" cy="416084"/>
          </a:xfrm>
        </p:spPr>
        <p:txBody>
          <a:bodyPr/>
          <a:lstStyle/>
          <a:p>
            <a:pPr eaLnBrk="1" hangingPunct="1"/>
            <a:r>
              <a:rPr altLang="en-US" sz="2000" dirty="0" smtClean="0">
                <a:latin typeface="Arial" charset="0"/>
                <a:ea typeface="ＭＳ Ｐゴシック" charset="-128"/>
                <a:cs typeface="Arial" charset="0"/>
              </a:rPr>
              <a:t>Agenda</a:t>
            </a:r>
            <a:endParaRPr altLang="en-US" sz="2000" dirty="0">
              <a:latin typeface="Arial" charset="0"/>
              <a:ea typeface="ＭＳ Ｐゴシック" charset="-128"/>
              <a:cs typeface="Arial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584378"/>
              </p:ext>
            </p:extLst>
          </p:nvPr>
        </p:nvGraphicFramePr>
        <p:xfrm>
          <a:off x="495300" y="1092200"/>
          <a:ext cx="8915400" cy="488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8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73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Rectangle 155"/>
          <p:cNvSpPr/>
          <p:nvPr/>
        </p:nvSpPr>
        <p:spPr>
          <a:xfrm>
            <a:off x="12255" y="6234439"/>
            <a:ext cx="3556172" cy="584775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/>
          <a:p>
            <a:pPr algn="ctr"/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2" name="Oval 121"/>
          <p:cNvSpPr/>
          <p:nvPr/>
        </p:nvSpPr>
        <p:spPr bwMode="auto">
          <a:xfrm>
            <a:off x="6586305" y="5656152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4" name="Oval 123"/>
          <p:cNvSpPr/>
          <p:nvPr/>
        </p:nvSpPr>
        <p:spPr bwMode="auto">
          <a:xfrm>
            <a:off x="6586305" y="6303811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5" name="Oval 124"/>
          <p:cNvSpPr/>
          <p:nvPr/>
        </p:nvSpPr>
        <p:spPr bwMode="auto">
          <a:xfrm>
            <a:off x="6586305" y="5115146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7" name="Oval 136"/>
          <p:cNvSpPr/>
          <p:nvPr/>
        </p:nvSpPr>
        <p:spPr bwMode="auto">
          <a:xfrm>
            <a:off x="6586305" y="4790187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8" name="Oval 137"/>
          <p:cNvSpPr/>
          <p:nvPr/>
        </p:nvSpPr>
        <p:spPr bwMode="auto">
          <a:xfrm>
            <a:off x="6586305" y="4609212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1" name="Oval 140"/>
          <p:cNvSpPr/>
          <p:nvPr/>
        </p:nvSpPr>
        <p:spPr bwMode="auto">
          <a:xfrm>
            <a:off x="6586305" y="5935690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2" name="Oval 141"/>
          <p:cNvSpPr/>
          <p:nvPr/>
        </p:nvSpPr>
        <p:spPr bwMode="auto">
          <a:xfrm>
            <a:off x="6586305" y="6116665"/>
            <a:ext cx="174625" cy="180975"/>
          </a:xfrm>
          <a:prstGeom prst="ellipse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3" name="Oval 142"/>
          <p:cNvSpPr/>
          <p:nvPr/>
        </p:nvSpPr>
        <p:spPr bwMode="auto">
          <a:xfrm>
            <a:off x="6586305" y="6490252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0" name="Oval 149"/>
          <p:cNvSpPr/>
          <p:nvPr/>
        </p:nvSpPr>
        <p:spPr bwMode="auto">
          <a:xfrm>
            <a:off x="6586305" y="5440851"/>
            <a:ext cx="174625" cy="180975"/>
          </a:xfrm>
          <a:prstGeom prst="ellipse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1" name="Oval 150"/>
          <p:cNvSpPr/>
          <p:nvPr/>
        </p:nvSpPr>
        <p:spPr bwMode="auto">
          <a:xfrm>
            <a:off x="6586305" y="4969272"/>
            <a:ext cx="174625" cy="180975"/>
          </a:xfrm>
          <a:prstGeom prst="ellipse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6" name="Oval 125"/>
          <p:cNvSpPr/>
          <p:nvPr/>
        </p:nvSpPr>
        <p:spPr bwMode="auto">
          <a:xfrm>
            <a:off x="3449523" y="6273809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3" name="Oval 132"/>
          <p:cNvSpPr/>
          <p:nvPr/>
        </p:nvSpPr>
        <p:spPr bwMode="auto">
          <a:xfrm>
            <a:off x="3449523" y="4934171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4" name="Oval 133"/>
          <p:cNvSpPr/>
          <p:nvPr/>
        </p:nvSpPr>
        <p:spPr bwMode="auto">
          <a:xfrm>
            <a:off x="3449523" y="5283792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9" name="Oval 138"/>
          <p:cNvSpPr/>
          <p:nvPr/>
        </p:nvSpPr>
        <p:spPr bwMode="auto">
          <a:xfrm>
            <a:off x="3449523" y="6472457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0" name="Oval 139"/>
          <p:cNvSpPr/>
          <p:nvPr/>
        </p:nvSpPr>
        <p:spPr bwMode="auto">
          <a:xfrm>
            <a:off x="3449523" y="5636455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4" name="Oval 143"/>
          <p:cNvSpPr/>
          <p:nvPr/>
        </p:nvSpPr>
        <p:spPr bwMode="auto">
          <a:xfrm>
            <a:off x="3449523" y="5948137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5" name="Oval 144"/>
          <p:cNvSpPr/>
          <p:nvPr/>
        </p:nvSpPr>
        <p:spPr bwMode="auto">
          <a:xfrm>
            <a:off x="3449523" y="6116665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6" name="Oval 145"/>
          <p:cNvSpPr/>
          <p:nvPr/>
        </p:nvSpPr>
        <p:spPr bwMode="auto">
          <a:xfrm>
            <a:off x="3449523" y="4609212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3" name="Oval 122"/>
          <p:cNvSpPr/>
          <p:nvPr/>
        </p:nvSpPr>
        <p:spPr bwMode="auto">
          <a:xfrm>
            <a:off x="249799" y="4969272"/>
            <a:ext cx="174625" cy="180975"/>
          </a:xfrm>
          <a:prstGeom prst="ellipse">
            <a:avLst/>
          </a:prstGeom>
          <a:solidFill>
            <a:srgbClr val="FFFF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7" name="Oval 126"/>
          <p:cNvSpPr/>
          <p:nvPr/>
        </p:nvSpPr>
        <p:spPr bwMode="auto">
          <a:xfrm>
            <a:off x="249799" y="6484786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8" name="Oval 127"/>
          <p:cNvSpPr/>
          <p:nvPr/>
        </p:nvSpPr>
        <p:spPr bwMode="auto">
          <a:xfrm>
            <a:off x="249799" y="6122836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9" name="Oval 128"/>
          <p:cNvSpPr/>
          <p:nvPr/>
        </p:nvSpPr>
        <p:spPr bwMode="auto">
          <a:xfrm>
            <a:off x="249799" y="6303811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0" name="Oval 129"/>
          <p:cNvSpPr/>
          <p:nvPr/>
        </p:nvSpPr>
        <p:spPr bwMode="auto">
          <a:xfrm>
            <a:off x="249799" y="5130262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1" name="Oval 130"/>
          <p:cNvSpPr/>
          <p:nvPr/>
        </p:nvSpPr>
        <p:spPr bwMode="auto">
          <a:xfrm>
            <a:off x="249799" y="4790187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2" name="Oval 131"/>
          <p:cNvSpPr/>
          <p:nvPr/>
        </p:nvSpPr>
        <p:spPr bwMode="auto">
          <a:xfrm>
            <a:off x="249799" y="4604944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5" name="Oval 134"/>
          <p:cNvSpPr/>
          <p:nvPr/>
        </p:nvSpPr>
        <p:spPr bwMode="auto">
          <a:xfrm>
            <a:off x="249799" y="5440851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6" name="Oval 135"/>
          <p:cNvSpPr/>
          <p:nvPr/>
        </p:nvSpPr>
        <p:spPr bwMode="auto">
          <a:xfrm>
            <a:off x="249799" y="5624409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7" name="Oval 146"/>
          <p:cNvSpPr/>
          <p:nvPr/>
        </p:nvSpPr>
        <p:spPr bwMode="auto">
          <a:xfrm>
            <a:off x="249799" y="5977222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8" name="Oval 147"/>
          <p:cNvSpPr/>
          <p:nvPr/>
        </p:nvSpPr>
        <p:spPr bwMode="auto">
          <a:xfrm>
            <a:off x="249799" y="5817430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9" name="Oval 148"/>
          <p:cNvSpPr/>
          <p:nvPr/>
        </p:nvSpPr>
        <p:spPr bwMode="auto">
          <a:xfrm>
            <a:off x="249799" y="5259876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85658"/>
            <a:ext cx="8915400" cy="416084"/>
          </a:xfrm>
        </p:spPr>
        <p:txBody>
          <a:bodyPr rtlCol="0"/>
          <a:lstStyle/>
          <a:p>
            <a:pPr defTabSz="913526" eaLnBrk="1" fontAlgn="auto" hangingPunct="1">
              <a:spcAft>
                <a:spcPts val="0"/>
              </a:spcAft>
              <a:defRPr/>
            </a:pPr>
            <a:r>
              <a:rPr lang="en-US" sz="2000" dirty="0" smtClean="0"/>
              <a:t>Status </a:t>
            </a:r>
            <a:r>
              <a:rPr lang="en-US" sz="2000" dirty="0" err="1" smtClean="0"/>
              <a:t>tahapan</a:t>
            </a:r>
            <a:r>
              <a:rPr lang="en-US" sz="2000" dirty="0" smtClean="0"/>
              <a:t> </a:t>
            </a:r>
            <a:r>
              <a:rPr lang="en-US" sz="2000" dirty="0" err="1" smtClean="0"/>
              <a:t>penyiapan</a:t>
            </a:r>
            <a:r>
              <a:rPr lang="en-US" sz="2000" dirty="0" smtClean="0"/>
              <a:t> </a:t>
            </a:r>
            <a:r>
              <a:rPr lang="en-US" sz="2000" dirty="0" err="1" smtClean="0">
                <a:solidFill>
                  <a:schemeClr val="accent6"/>
                </a:solidFill>
                <a:ea typeface="+mj-ea"/>
              </a:rPr>
              <a:t>dan</a:t>
            </a:r>
            <a:r>
              <a:rPr lang="en-US" sz="2000" dirty="0" smtClean="0">
                <a:solidFill>
                  <a:schemeClr val="accent6"/>
                </a:solidFill>
                <a:ea typeface="+mj-ea"/>
              </a:rPr>
              <a:t> </a:t>
            </a:r>
            <a:r>
              <a:rPr lang="en-US" sz="2000" dirty="0" err="1">
                <a:solidFill>
                  <a:schemeClr val="accent6"/>
                </a:solidFill>
                <a:ea typeface="+mj-ea"/>
              </a:rPr>
              <a:t>persebaran</a:t>
            </a:r>
            <a:r>
              <a:rPr lang="en-US" sz="2000" dirty="0">
                <a:solidFill>
                  <a:schemeClr val="accent6"/>
                </a:solidFill>
                <a:ea typeface="+mj-ea"/>
              </a:rPr>
              <a:t> 30 </a:t>
            </a:r>
            <a:r>
              <a:rPr lang="en-US" sz="2000" dirty="0" err="1">
                <a:solidFill>
                  <a:schemeClr val="accent6"/>
                </a:solidFill>
                <a:ea typeface="+mj-ea"/>
              </a:rPr>
              <a:t>Proyek</a:t>
            </a:r>
            <a:r>
              <a:rPr lang="en-US" sz="2000" dirty="0">
                <a:solidFill>
                  <a:schemeClr val="accent6"/>
                </a:solidFill>
                <a:ea typeface="+mj-ea"/>
              </a:rPr>
              <a:t> </a:t>
            </a:r>
            <a:r>
              <a:rPr lang="en-US" sz="2000" dirty="0" err="1" smtClean="0">
                <a:solidFill>
                  <a:schemeClr val="accent6"/>
                </a:solidFill>
                <a:ea typeface="+mj-ea"/>
              </a:rPr>
              <a:t>Prioritas</a:t>
            </a:r>
            <a:endParaRPr sz="2000" dirty="0">
              <a:ln w="12700">
                <a:noFill/>
                <a:prstDash val="solid"/>
              </a:ln>
              <a:solidFill>
                <a:schemeClr val="accent6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ea typeface="+mj-ea"/>
            </a:endParaRPr>
          </a:p>
        </p:txBody>
      </p:sp>
      <p:grpSp>
        <p:nvGrpSpPr>
          <p:cNvPr id="48130" name="Group 5"/>
          <p:cNvGrpSpPr>
            <a:grpSpLocks/>
          </p:cNvGrpSpPr>
          <p:nvPr/>
        </p:nvGrpSpPr>
        <p:grpSpPr bwMode="auto">
          <a:xfrm>
            <a:off x="477838" y="1373120"/>
            <a:ext cx="8685212" cy="3054350"/>
            <a:chOff x="-36512" y="1239564"/>
            <a:chExt cx="9526795" cy="3506617"/>
          </a:xfrm>
        </p:grpSpPr>
        <p:sp>
          <p:nvSpPr>
            <p:cNvPr id="48138" name="Freeform 6"/>
            <p:cNvSpPr>
              <a:spLocks noEditPoints="1"/>
            </p:cNvSpPr>
            <p:nvPr/>
          </p:nvSpPr>
          <p:spPr bwMode="auto">
            <a:xfrm>
              <a:off x="4918268" y="4148221"/>
              <a:ext cx="1298226" cy="597960"/>
            </a:xfrm>
            <a:custGeom>
              <a:avLst/>
              <a:gdLst>
                <a:gd name="T0" fmla="*/ 2147483647 w 2208"/>
                <a:gd name="T1" fmla="*/ 2147483647 h 1017"/>
                <a:gd name="T2" fmla="*/ 2147483647 w 2208"/>
                <a:gd name="T3" fmla="*/ 2147483647 h 1017"/>
                <a:gd name="T4" fmla="*/ 2147483647 w 2208"/>
                <a:gd name="T5" fmla="*/ 2147483647 h 1017"/>
                <a:gd name="T6" fmla="*/ 2147483647 w 2208"/>
                <a:gd name="T7" fmla="*/ 2147483647 h 1017"/>
                <a:gd name="T8" fmla="*/ 2147483647 w 2208"/>
                <a:gd name="T9" fmla="*/ 2147483647 h 1017"/>
                <a:gd name="T10" fmla="*/ 2147483647 w 2208"/>
                <a:gd name="T11" fmla="*/ 2147483647 h 1017"/>
                <a:gd name="T12" fmla="*/ 2147483647 w 2208"/>
                <a:gd name="T13" fmla="*/ 2147483647 h 1017"/>
                <a:gd name="T14" fmla="*/ 2147483647 w 2208"/>
                <a:gd name="T15" fmla="*/ 2147483647 h 1017"/>
                <a:gd name="T16" fmla="*/ 2147483647 w 2208"/>
                <a:gd name="T17" fmla="*/ 2147483647 h 1017"/>
                <a:gd name="T18" fmla="*/ 2147483647 w 2208"/>
                <a:gd name="T19" fmla="*/ 2147483647 h 1017"/>
                <a:gd name="T20" fmla="*/ 2147483647 w 2208"/>
                <a:gd name="T21" fmla="*/ 2147483647 h 1017"/>
                <a:gd name="T22" fmla="*/ 2147483647 w 2208"/>
                <a:gd name="T23" fmla="*/ 2147483647 h 1017"/>
                <a:gd name="T24" fmla="*/ 2147483647 w 2208"/>
                <a:gd name="T25" fmla="*/ 2147483647 h 1017"/>
                <a:gd name="T26" fmla="*/ 2147483647 w 2208"/>
                <a:gd name="T27" fmla="*/ 2147483647 h 1017"/>
                <a:gd name="T28" fmla="*/ 2147483647 w 2208"/>
                <a:gd name="T29" fmla="*/ 2147483647 h 1017"/>
                <a:gd name="T30" fmla="*/ 2147483647 w 2208"/>
                <a:gd name="T31" fmla="*/ 2147483647 h 1017"/>
                <a:gd name="T32" fmla="*/ 2147483647 w 2208"/>
                <a:gd name="T33" fmla="*/ 2147483647 h 1017"/>
                <a:gd name="T34" fmla="*/ 2147483647 w 2208"/>
                <a:gd name="T35" fmla="*/ 2147483647 h 1017"/>
                <a:gd name="T36" fmla="*/ 2147483647 w 2208"/>
                <a:gd name="T37" fmla="*/ 2147483647 h 1017"/>
                <a:gd name="T38" fmla="*/ 2147483647 w 2208"/>
                <a:gd name="T39" fmla="*/ 2147483647 h 1017"/>
                <a:gd name="T40" fmla="*/ 2147483647 w 2208"/>
                <a:gd name="T41" fmla="*/ 2147483647 h 1017"/>
                <a:gd name="T42" fmla="*/ 2147483647 w 2208"/>
                <a:gd name="T43" fmla="*/ 2147483647 h 1017"/>
                <a:gd name="T44" fmla="*/ 2147483647 w 2208"/>
                <a:gd name="T45" fmla="*/ 2147483647 h 1017"/>
                <a:gd name="T46" fmla="*/ 2147483647 w 2208"/>
                <a:gd name="T47" fmla="*/ 2147483647 h 1017"/>
                <a:gd name="T48" fmla="*/ 2147483647 w 2208"/>
                <a:gd name="T49" fmla="*/ 2147483647 h 1017"/>
                <a:gd name="T50" fmla="*/ 2147483647 w 2208"/>
                <a:gd name="T51" fmla="*/ 2147483647 h 1017"/>
                <a:gd name="T52" fmla="*/ 2147483647 w 2208"/>
                <a:gd name="T53" fmla="*/ 2147483647 h 1017"/>
                <a:gd name="T54" fmla="*/ 2147483647 w 2208"/>
                <a:gd name="T55" fmla="*/ 2147483647 h 1017"/>
                <a:gd name="T56" fmla="*/ 2147483647 w 2208"/>
                <a:gd name="T57" fmla="*/ 2147483647 h 1017"/>
                <a:gd name="T58" fmla="*/ 2147483647 w 2208"/>
                <a:gd name="T59" fmla="*/ 2147483647 h 1017"/>
                <a:gd name="T60" fmla="*/ 2147483647 w 2208"/>
                <a:gd name="T61" fmla="*/ 2147483647 h 1017"/>
                <a:gd name="T62" fmla="*/ 2147483647 w 2208"/>
                <a:gd name="T63" fmla="*/ 2147483647 h 1017"/>
                <a:gd name="T64" fmla="*/ 2147483647 w 2208"/>
                <a:gd name="T65" fmla="*/ 2147483647 h 1017"/>
                <a:gd name="T66" fmla="*/ 2147483647 w 2208"/>
                <a:gd name="T67" fmla="*/ 2147483647 h 1017"/>
                <a:gd name="T68" fmla="*/ 2147483647 w 2208"/>
                <a:gd name="T69" fmla="*/ 2147483647 h 1017"/>
                <a:gd name="T70" fmla="*/ 2147483647 w 2208"/>
                <a:gd name="T71" fmla="*/ 2147483647 h 1017"/>
                <a:gd name="T72" fmla="*/ 2147483647 w 2208"/>
                <a:gd name="T73" fmla="*/ 2147483647 h 1017"/>
                <a:gd name="T74" fmla="*/ 2147483647 w 2208"/>
                <a:gd name="T75" fmla="*/ 2147483647 h 1017"/>
                <a:gd name="T76" fmla="*/ 2147483647 w 2208"/>
                <a:gd name="T77" fmla="*/ 2147483647 h 1017"/>
                <a:gd name="T78" fmla="*/ 2147483647 w 2208"/>
                <a:gd name="T79" fmla="*/ 2147483647 h 1017"/>
                <a:gd name="T80" fmla="*/ 2147483647 w 2208"/>
                <a:gd name="T81" fmla="*/ 2147483647 h 1017"/>
                <a:gd name="T82" fmla="*/ 2147483647 w 2208"/>
                <a:gd name="T83" fmla="*/ 2147483647 h 1017"/>
                <a:gd name="T84" fmla="*/ 2147483647 w 2208"/>
                <a:gd name="T85" fmla="*/ 2147483647 h 1017"/>
                <a:gd name="T86" fmla="*/ 2147483647 w 2208"/>
                <a:gd name="T87" fmla="*/ 2147483647 h 1017"/>
                <a:gd name="T88" fmla="*/ 2147483647 w 2208"/>
                <a:gd name="T89" fmla="*/ 2147483647 h 1017"/>
                <a:gd name="T90" fmla="*/ 2147483647 w 2208"/>
                <a:gd name="T91" fmla="*/ 2147483647 h 1017"/>
                <a:gd name="T92" fmla="*/ 2147483647 w 2208"/>
                <a:gd name="T93" fmla="*/ 2147483647 h 1017"/>
                <a:gd name="T94" fmla="*/ 2147483647 w 2208"/>
                <a:gd name="T95" fmla="*/ 2147483647 h 1017"/>
                <a:gd name="T96" fmla="*/ 2147483647 w 2208"/>
                <a:gd name="T97" fmla="*/ 2147483647 h 1017"/>
                <a:gd name="T98" fmla="*/ 2147483647 w 2208"/>
                <a:gd name="T99" fmla="*/ 2147483647 h 1017"/>
                <a:gd name="T100" fmla="*/ 2147483647 w 2208"/>
                <a:gd name="T101" fmla="*/ 2147483647 h 1017"/>
                <a:gd name="T102" fmla="*/ 2147483647 w 2208"/>
                <a:gd name="T103" fmla="*/ 2147483647 h 1017"/>
                <a:gd name="T104" fmla="*/ 2147483647 w 2208"/>
                <a:gd name="T105" fmla="*/ 2147483647 h 1017"/>
                <a:gd name="T106" fmla="*/ 2147483647 w 2208"/>
                <a:gd name="T107" fmla="*/ 2147483647 h 1017"/>
                <a:gd name="T108" fmla="*/ 2147483647 w 2208"/>
                <a:gd name="T109" fmla="*/ 2147483647 h 1017"/>
                <a:gd name="T110" fmla="*/ 2147483647 w 2208"/>
                <a:gd name="T111" fmla="*/ 2147483647 h 1017"/>
                <a:gd name="T112" fmla="*/ 2147483647 w 2208"/>
                <a:gd name="T113" fmla="*/ 2147483647 h 1017"/>
                <a:gd name="T114" fmla="*/ 2147483647 w 2208"/>
                <a:gd name="T115" fmla="*/ 2147483647 h 1017"/>
                <a:gd name="T116" fmla="*/ 2147483647 w 2208"/>
                <a:gd name="T117" fmla="*/ 2147483647 h 1017"/>
                <a:gd name="T118" fmla="*/ 2147483647 w 2208"/>
                <a:gd name="T119" fmla="*/ 2147483647 h 10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208" h="1017">
                  <a:moveTo>
                    <a:pt x="1578" y="740"/>
                  </a:moveTo>
                  <a:lnTo>
                    <a:pt x="1606" y="745"/>
                  </a:lnTo>
                  <a:lnTo>
                    <a:pt x="1583" y="773"/>
                  </a:lnTo>
                  <a:lnTo>
                    <a:pt x="1576" y="800"/>
                  </a:lnTo>
                  <a:lnTo>
                    <a:pt x="1546" y="807"/>
                  </a:lnTo>
                  <a:lnTo>
                    <a:pt x="1542" y="782"/>
                  </a:lnTo>
                  <a:lnTo>
                    <a:pt x="1567" y="756"/>
                  </a:lnTo>
                  <a:lnTo>
                    <a:pt x="1578" y="740"/>
                  </a:lnTo>
                  <a:close/>
                  <a:moveTo>
                    <a:pt x="1573" y="67"/>
                  </a:moveTo>
                  <a:lnTo>
                    <a:pt x="1573" y="67"/>
                  </a:lnTo>
                  <a:lnTo>
                    <a:pt x="1601" y="88"/>
                  </a:lnTo>
                  <a:lnTo>
                    <a:pt x="1573" y="111"/>
                  </a:lnTo>
                  <a:lnTo>
                    <a:pt x="1546" y="129"/>
                  </a:lnTo>
                  <a:lnTo>
                    <a:pt x="1521" y="150"/>
                  </a:lnTo>
                  <a:lnTo>
                    <a:pt x="1546" y="162"/>
                  </a:lnTo>
                  <a:lnTo>
                    <a:pt x="1576" y="183"/>
                  </a:lnTo>
                  <a:lnTo>
                    <a:pt x="1601" y="160"/>
                  </a:lnTo>
                  <a:lnTo>
                    <a:pt x="1627" y="176"/>
                  </a:lnTo>
                  <a:lnTo>
                    <a:pt x="1638" y="150"/>
                  </a:lnTo>
                  <a:lnTo>
                    <a:pt x="1652" y="121"/>
                  </a:lnTo>
                  <a:lnTo>
                    <a:pt x="1679" y="121"/>
                  </a:lnTo>
                  <a:lnTo>
                    <a:pt x="1697" y="95"/>
                  </a:lnTo>
                  <a:lnTo>
                    <a:pt x="1723" y="72"/>
                  </a:lnTo>
                  <a:lnTo>
                    <a:pt x="1749" y="72"/>
                  </a:lnTo>
                  <a:lnTo>
                    <a:pt x="1725" y="44"/>
                  </a:lnTo>
                  <a:lnTo>
                    <a:pt x="1700" y="44"/>
                  </a:lnTo>
                  <a:lnTo>
                    <a:pt x="1673" y="61"/>
                  </a:lnTo>
                  <a:lnTo>
                    <a:pt x="1645" y="82"/>
                  </a:lnTo>
                  <a:lnTo>
                    <a:pt x="1619" y="100"/>
                  </a:lnTo>
                  <a:lnTo>
                    <a:pt x="1627" y="75"/>
                  </a:lnTo>
                  <a:lnTo>
                    <a:pt x="1601" y="67"/>
                  </a:lnTo>
                  <a:lnTo>
                    <a:pt x="1573" y="67"/>
                  </a:lnTo>
                  <a:close/>
                  <a:moveTo>
                    <a:pt x="1635" y="685"/>
                  </a:moveTo>
                  <a:lnTo>
                    <a:pt x="1638" y="660"/>
                  </a:lnTo>
                  <a:lnTo>
                    <a:pt x="1666" y="637"/>
                  </a:lnTo>
                  <a:lnTo>
                    <a:pt x="1656" y="611"/>
                  </a:lnTo>
                  <a:lnTo>
                    <a:pt x="1668" y="582"/>
                  </a:lnTo>
                  <a:lnTo>
                    <a:pt x="1666" y="556"/>
                  </a:lnTo>
                  <a:lnTo>
                    <a:pt x="1694" y="533"/>
                  </a:lnTo>
                  <a:lnTo>
                    <a:pt x="1720" y="510"/>
                  </a:lnTo>
                  <a:lnTo>
                    <a:pt x="1749" y="487"/>
                  </a:lnTo>
                  <a:lnTo>
                    <a:pt x="1772" y="461"/>
                  </a:lnTo>
                  <a:lnTo>
                    <a:pt x="1795" y="453"/>
                  </a:lnTo>
                  <a:lnTo>
                    <a:pt x="1860" y="492"/>
                  </a:lnTo>
                  <a:lnTo>
                    <a:pt x="1897" y="459"/>
                  </a:lnTo>
                  <a:lnTo>
                    <a:pt x="1933" y="499"/>
                  </a:lnTo>
                  <a:lnTo>
                    <a:pt x="1962" y="483"/>
                  </a:lnTo>
                  <a:lnTo>
                    <a:pt x="2004" y="411"/>
                  </a:lnTo>
                  <a:lnTo>
                    <a:pt x="1992" y="386"/>
                  </a:lnTo>
                  <a:lnTo>
                    <a:pt x="2013" y="372"/>
                  </a:lnTo>
                  <a:lnTo>
                    <a:pt x="2039" y="349"/>
                  </a:lnTo>
                  <a:lnTo>
                    <a:pt x="2067" y="331"/>
                  </a:lnTo>
                  <a:lnTo>
                    <a:pt x="2092" y="323"/>
                  </a:lnTo>
                  <a:lnTo>
                    <a:pt x="2117" y="308"/>
                  </a:lnTo>
                  <a:lnTo>
                    <a:pt x="2190" y="306"/>
                  </a:lnTo>
                  <a:lnTo>
                    <a:pt x="2208" y="350"/>
                  </a:lnTo>
                  <a:lnTo>
                    <a:pt x="2154" y="405"/>
                  </a:lnTo>
                  <a:lnTo>
                    <a:pt x="2166" y="495"/>
                  </a:lnTo>
                  <a:lnTo>
                    <a:pt x="2136" y="517"/>
                  </a:lnTo>
                  <a:lnTo>
                    <a:pt x="2131" y="543"/>
                  </a:lnTo>
                  <a:lnTo>
                    <a:pt x="2131" y="551"/>
                  </a:lnTo>
                  <a:lnTo>
                    <a:pt x="2129" y="561"/>
                  </a:lnTo>
                  <a:lnTo>
                    <a:pt x="2101" y="579"/>
                  </a:lnTo>
                  <a:lnTo>
                    <a:pt x="2074" y="603"/>
                  </a:lnTo>
                  <a:lnTo>
                    <a:pt x="2053" y="629"/>
                  </a:lnTo>
                  <a:lnTo>
                    <a:pt x="2034" y="655"/>
                  </a:lnTo>
                  <a:lnTo>
                    <a:pt x="2007" y="673"/>
                  </a:lnTo>
                  <a:lnTo>
                    <a:pt x="1989" y="685"/>
                  </a:lnTo>
                  <a:lnTo>
                    <a:pt x="1968" y="712"/>
                  </a:lnTo>
                  <a:lnTo>
                    <a:pt x="1942" y="740"/>
                  </a:lnTo>
                  <a:lnTo>
                    <a:pt x="1914" y="748"/>
                  </a:lnTo>
                  <a:lnTo>
                    <a:pt x="1889" y="745"/>
                  </a:lnTo>
                  <a:lnTo>
                    <a:pt x="1862" y="748"/>
                  </a:lnTo>
                  <a:lnTo>
                    <a:pt x="1834" y="750"/>
                  </a:lnTo>
                  <a:lnTo>
                    <a:pt x="1808" y="771"/>
                  </a:lnTo>
                  <a:lnTo>
                    <a:pt x="1780" y="787"/>
                  </a:lnTo>
                  <a:lnTo>
                    <a:pt x="1751" y="797"/>
                  </a:lnTo>
                  <a:lnTo>
                    <a:pt x="1725" y="815"/>
                  </a:lnTo>
                  <a:lnTo>
                    <a:pt x="1671" y="815"/>
                  </a:lnTo>
                  <a:lnTo>
                    <a:pt x="1645" y="818"/>
                  </a:lnTo>
                  <a:lnTo>
                    <a:pt x="1617" y="805"/>
                  </a:lnTo>
                  <a:lnTo>
                    <a:pt x="1606" y="779"/>
                  </a:lnTo>
                  <a:lnTo>
                    <a:pt x="1633" y="750"/>
                  </a:lnTo>
                  <a:lnTo>
                    <a:pt x="1658" y="740"/>
                  </a:lnTo>
                  <a:lnTo>
                    <a:pt x="1684" y="727"/>
                  </a:lnTo>
                  <a:lnTo>
                    <a:pt x="1686" y="701"/>
                  </a:lnTo>
                  <a:lnTo>
                    <a:pt x="1658" y="694"/>
                  </a:lnTo>
                  <a:lnTo>
                    <a:pt x="1635" y="685"/>
                  </a:lnTo>
                  <a:close/>
                  <a:moveTo>
                    <a:pt x="373" y="261"/>
                  </a:moveTo>
                  <a:lnTo>
                    <a:pt x="380" y="261"/>
                  </a:lnTo>
                  <a:lnTo>
                    <a:pt x="410" y="254"/>
                  </a:lnTo>
                  <a:lnTo>
                    <a:pt x="435" y="248"/>
                  </a:lnTo>
                  <a:lnTo>
                    <a:pt x="461" y="266"/>
                  </a:lnTo>
                  <a:lnTo>
                    <a:pt x="490" y="266"/>
                  </a:lnTo>
                  <a:lnTo>
                    <a:pt x="516" y="259"/>
                  </a:lnTo>
                  <a:lnTo>
                    <a:pt x="541" y="259"/>
                  </a:lnTo>
                  <a:lnTo>
                    <a:pt x="569" y="254"/>
                  </a:lnTo>
                  <a:lnTo>
                    <a:pt x="596" y="269"/>
                  </a:lnTo>
                  <a:lnTo>
                    <a:pt x="624" y="279"/>
                  </a:lnTo>
                  <a:lnTo>
                    <a:pt x="650" y="264"/>
                  </a:lnTo>
                  <a:lnTo>
                    <a:pt x="675" y="274"/>
                  </a:lnTo>
                  <a:lnTo>
                    <a:pt x="696" y="300"/>
                  </a:lnTo>
                  <a:lnTo>
                    <a:pt x="725" y="307"/>
                  </a:lnTo>
                  <a:lnTo>
                    <a:pt x="751" y="305"/>
                  </a:lnTo>
                  <a:lnTo>
                    <a:pt x="779" y="293"/>
                  </a:lnTo>
                  <a:lnTo>
                    <a:pt x="805" y="289"/>
                  </a:lnTo>
                  <a:lnTo>
                    <a:pt x="834" y="300"/>
                  </a:lnTo>
                  <a:lnTo>
                    <a:pt x="859" y="284"/>
                  </a:lnTo>
                  <a:lnTo>
                    <a:pt x="880" y="259"/>
                  </a:lnTo>
                  <a:lnTo>
                    <a:pt x="908" y="264"/>
                  </a:lnTo>
                  <a:lnTo>
                    <a:pt x="935" y="266"/>
                  </a:lnTo>
                  <a:lnTo>
                    <a:pt x="960" y="282"/>
                  </a:lnTo>
                  <a:lnTo>
                    <a:pt x="988" y="287"/>
                  </a:lnTo>
                  <a:lnTo>
                    <a:pt x="1014" y="282"/>
                  </a:lnTo>
                  <a:lnTo>
                    <a:pt x="1041" y="266"/>
                  </a:lnTo>
                  <a:lnTo>
                    <a:pt x="1066" y="261"/>
                  </a:lnTo>
                  <a:lnTo>
                    <a:pt x="1092" y="254"/>
                  </a:lnTo>
                  <a:lnTo>
                    <a:pt x="1120" y="233"/>
                  </a:lnTo>
                  <a:lnTo>
                    <a:pt x="1147" y="233"/>
                  </a:lnTo>
                  <a:lnTo>
                    <a:pt x="1175" y="238"/>
                  </a:lnTo>
                  <a:lnTo>
                    <a:pt x="1201" y="238"/>
                  </a:lnTo>
                  <a:lnTo>
                    <a:pt x="1226" y="235"/>
                  </a:lnTo>
                  <a:lnTo>
                    <a:pt x="1255" y="227"/>
                  </a:lnTo>
                  <a:lnTo>
                    <a:pt x="1273" y="215"/>
                  </a:lnTo>
                  <a:lnTo>
                    <a:pt x="1299" y="204"/>
                  </a:lnTo>
                  <a:lnTo>
                    <a:pt x="1325" y="197"/>
                  </a:lnTo>
                  <a:lnTo>
                    <a:pt x="1350" y="192"/>
                  </a:lnTo>
                  <a:lnTo>
                    <a:pt x="1380" y="181"/>
                  </a:lnTo>
                  <a:lnTo>
                    <a:pt x="1371" y="155"/>
                  </a:lnTo>
                  <a:lnTo>
                    <a:pt x="1369" y="129"/>
                  </a:lnTo>
                  <a:lnTo>
                    <a:pt x="1397" y="119"/>
                  </a:lnTo>
                  <a:lnTo>
                    <a:pt x="1405" y="93"/>
                  </a:lnTo>
                  <a:lnTo>
                    <a:pt x="1433" y="90"/>
                  </a:lnTo>
                  <a:lnTo>
                    <a:pt x="1436" y="65"/>
                  </a:lnTo>
                  <a:lnTo>
                    <a:pt x="1423" y="38"/>
                  </a:lnTo>
                  <a:lnTo>
                    <a:pt x="1405" y="10"/>
                  </a:lnTo>
                  <a:lnTo>
                    <a:pt x="1376" y="0"/>
                  </a:lnTo>
                  <a:lnTo>
                    <a:pt x="1353" y="26"/>
                  </a:lnTo>
                  <a:lnTo>
                    <a:pt x="1353" y="54"/>
                  </a:lnTo>
                  <a:lnTo>
                    <a:pt x="1380" y="42"/>
                  </a:lnTo>
                  <a:lnTo>
                    <a:pt x="1405" y="51"/>
                  </a:lnTo>
                  <a:lnTo>
                    <a:pt x="1380" y="77"/>
                  </a:lnTo>
                  <a:lnTo>
                    <a:pt x="1350" y="98"/>
                  </a:lnTo>
                  <a:lnTo>
                    <a:pt x="1325" y="106"/>
                  </a:lnTo>
                  <a:lnTo>
                    <a:pt x="1299" y="109"/>
                  </a:lnTo>
                  <a:lnTo>
                    <a:pt x="1274" y="134"/>
                  </a:lnTo>
                  <a:lnTo>
                    <a:pt x="1260" y="160"/>
                  </a:lnTo>
                  <a:lnTo>
                    <a:pt x="1242" y="186"/>
                  </a:lnTo>
                  <a:lnTo>
                    <a:pt x="1216" y="189"/>
                  </a:lnTo>
                  <a:lnTo>
                    <a:pt x="1188" y="197"/>
                  </a:lnTo>
                  <a:lnTo>
                    <a:pt x="1159" y="194"/>
                  </a:lnTo>
                  <a:lnTo>
                    <a:pt x="1133" y="171"/>
                  </a:lnTo>
                  <a:lnTo>
                    <a:pt x="1108" y="155"/>
                  </a:lnTo>
                  <a:lnTo>
                    <a:pt x="1087" y="153"/>
                  </a:lnTo>
                  <a:lnTo>
                    <a:pt x="1090" y="123"/>
                  </a:lnTo>
                  <a:lnTo>
                    <a:pt x="1061" y="132"/>
                  </a:lnTo>
                  <a:lnTo>
                    <a:pt x="1035" y="148"/>
                  </a:lnTo>
                  <a:lnTo>
                    <a:pt x="1009" y="150"/>
                  </a:lnTo>
                  <a:lnTo>
                    <a:pt x="981" y="148"/>
                  </a:lnTo>
                  <a:lnTo>
                    <a:pt x="954" y="144"/>
                  </a:lnTo>
                  <a:lnTo>
                    <a:pt x="929" y="160"/>
                  </a:lnTo>
                  <a:lnTo>
                    <a:pt x="903" y="183"/>
                  </a:lnTo>
                  <a:lnTo>
                    <a:pt x="875" y="178"/>
                  </a:lnTo>
                  <a:lnTo>
                    <a:pt x="848" y="165"/>
                  </a:lnTo>
                  <a:lnTo>
                    <a:pt x="829" y="139"/>
                  </a:lnTo>
                  <a:lnTo>
                    <a:pt x="800" y="129"/>
                  </a:lnTo>
                  <a:lnTo>
                    <a:pt x="774" y="123"/>
                  </a:lnTo>
                  <a:lnTo>
                    <a:pt x="748" y="116"/>
                  </a:lnTo>
                  <a:lnTo>
                    <a:pt x="719" y="93"/>
                  </a:lnTo>
                  <a:lnTo>
                    <a:pt x="694" y="93"/>
                  </a:lnTo>
                  <a:lnTo>
                    <a:pt x="666" y="88"/>
                  </a:lnTo>
                  <a:lnTo>
                    <a:pt x="640" y="90"/>
                  </a:lnTo>
                  <a:lnTo>
                    <a:pt x="613" y="75"/>
                  </a:lnTo>
                  <a:lnTo>
                    <a:pt x="585" y="67"/>
                  </a:lnTo>
                  <a:lnTo>
                    <a:pt x="559" y="61"/>
                  </a:lnTo>
                  <a:lnTo>
                    <a:pt x="534" y="65"/>
                  </a:lnTo>
                  <a:lnTo>
                    <a:pt x="507" y="70"/>
                  </a:lnTo>
                  <a:lnTo>
                    <a:pt x="482" y="67"/>
                  </a:lnTo>
                  <a:lnTo>
                    <a:pt x="453" y="75"/>
                  </a:lnTo>
                  <a:lnTo>
                    <a:pt x="428" y="100"/>
                  </a:lnTo>
                  <a:lnTo>
                    <a:pt x="401" y="109"/>
                  </a:lnTo>
                  <a:lnTo>
                    <a:pt x="373" y="129"/>
                  </a:lnTo>
                  <a:lnTo>
                    <a:pt x="352" y="132"/>
                  </a:lnTo>
                  <a:lnTo>
                    <a:pt x="327" y="123"/>
                  </a:lnTo>
                  <a:lnTo>
                    <a:pt x="329" y="150"/>
                  </a:lnTo>
                  <a:lnTo>
                    <a:pt x="304" y="178"/>
                  </a:lnTo>
                  <a:lnTo>
                    <a:pt x="304" y="231"/>
                  </a:lnTo>
                  <a:lnTo>
                    <a:pt x="322" y="256"/>
                  </a:lnTo>
                  <a:lnTo>
                    <a:pt x="347" y="282"/>
                  </a:lnTo>
                  <a:lnTo>
                    <a:pt x="373" y="261"/>
                  </a:lnTo>
                  <a:close/>
                  <a:moveTo>
                    <a:pt x="663" y="685"/>
                  </a:moveTo>
                  <a:lnTo>
                    <a:pt x="668" y="706"/>
                  </a:lnTo>
                  <a:lnTo>
                    <a:pt x="647" y="733"/>
                  </a:lnTo>
                  <a:lnTo>
                    <a:pt x="627" y="758"/>
                  </a:lnTo>
                  <a:lnTo>
                    <a:pt x="601" y="768"/>
                  </a:lnTo>
                  <a:lnTo>
                    <a:pt x="575" y="766"/>
                  </a:lnTo>
                  <a:lnTo>
                    <a:pt x="546" y="784"/>
                  </a:lnTo>
                  <a:lnTo>
                    <a:pt x="520" y="787"/>
                  </a:lnTo>
                  <a:lnTo>
                    <a:pt x="495" y="777"/>
                  </a:lnTo>
                  <a:lnTo>
                    <a:pt x="466" y="771"/>
                  </a:lnTo>
                  <a:lnTo>
                    <a:pt x="438" y="768"/>
                  </a:lnTo>
                  <a:lnTo>
                    <a:pt x="412" y="748"/>
                  </a:lnTo>
                  <a:lnTo>
                    <a:pt x="384" y="722"/>
                  </a:lnTo>
                  <a:lnTo>
                    <a:pt x="373" y="694"/>
                  </a:lnTo>
                  <a:lnTo>
                    <a:pt x="366" y="685"/>
                  </a:lnTo>
                  <a:lnTo>
                    <a:pt x="357" y="676"/>
                  </a:lnTo>
                  <a:lnTo>
                    <a:pt x="332" y="662"/>
                  </a:lnTo>
                  <a:lnTo>
                    <a:pt x="306" y="657"/>
                  </a:lnTo>
                  <a:lnTo>
                    <a:pt x="277" y="639"/>
                  </a:lnTo>
                  <a:lnTo>
                    <a:pt x="256" y="611"/>
                  </a:lnTo>
                  <a:lnTo>
                    <a:pt x="230" y="603"/>
                  </a:lnTo>
                  <a:lnTo>
                    <a:pt x="202" y="600"/>
                  </a:lnTo>
                  <a:lnTo>
                    <a:pt x="177" y="598"/>
                  </a:lnTo>
                  <a:lnTo>
                    <a:pt x="150" y="603"/>
                  </a:lnTo>
                  <a:lnTo>
                    <a:pt x="125" y="595"/>
                  </a:lnTo>
                  <a:lnTo>
                    <a:pt x="99" y="593"/>
                  </a:lnTo>
                  <a:lnTo>
                    <a:pt x="71" y="588"/>
                  </a:lnTo>
                  <a:lnTo>
                    <a:pt x="60" y="584"/>
                  </a:lnTo>
                  <a:lnTo>
                    <a:pt x="34" y="569"/>
                  </a:lnTo>
                  <a:lnTo>
                    <a:pt x="16" y="543"/>
                  </a:lnTo>
                  <a:lnTo>
                    <a:pt x="0" y="520"/>
                  </a:lnTo>
                  <a:lnTo>
                    <a:pt x="6" y="512"/>
                  </a:lnTo>
                  <a:lnTo>
                    <a:pt x="27" y="487"/>
                  </a:lnTo>
                  <a:lnTo>
                    <a:pt x="52" y="476"/>
                  </a:lnTo>
                  <a:lnTo>
                    <a:pt x="78" y="466"/>
                  </a:lnTo>
                  <a:lnTo>
                    <a:pt x="106" y="463"/>
                  </a:lnTo>
                  <a:lnTo>
                    <a:pt x="133" y="461"/>
                  </a:lnTo>
                  <a:lnTo>
                    <a:pt x="161" y="461"/>
                  </a:lnTo>
                  <a:lnTo>
                    <a:pt x="187" y="455"/>
                  </a:lnTo>
                  <a:lnTo>
                    <a:pt x="212" y="461"/>
                  </a:lnTo>
                  <a:lnTo>
                    <a:pt x="241" y="450"/>
                  </a:lnTo>
                  <a:lnTo>
                    <a:pt x="267" y="461"/>
                  </a:lnTo>
                  <a:lnTo>
                    <a:pt x="293" y="466"/>
                  </a:lnTo>
                  <a:lnTo>
                    <a:pt x="322" y="453"/>
                  </a:lnTo>
                  <a:lnTo>
                    <a:pt x="347" y="437"/>
                  </a:lnTo>
                  <a:lnTo>
                    <a:pt x="373" y="453"/>
                  </a:lnTo>
                  <a:lnTo>
                    <a:pt x="386" y="466"/>
                  </a:lnTo>
                  <a:lnTo>
                    <a:pt x="404" y="492"/>
                  </a:lnTo>
                  <a:lnTo>
                    <a:pt x="433" y="497"/>
                  </a:lnTo>
                  <a:lnTo>
                    <a:pt x="458" y="507"/>
                  </a:lnTo>
                  <a:lnTo>
                    <a:pt x="461" y="536"/>
                  </a:lnTo>
                  <a:lnTo>
                    <a:pt x="484" y="561"/>
                  </a:lnTo>
                  <a:lnTo>
                    <a:pt x="513" y="556"/>
                  </a:lnTo>
                  <a:lnTo>
                    <a:pt x="539" y="554"/>
                  </a:lnTo>
                  <a:lnTo>
                    <a:pt x="557" y="579"/>
                  </a:lnTo>
                  <a:lnTo>
                    <a:pt x="583" y="593"/>
                  </a:lnTo>
                  <a:lnTo>
                    <a:pt x="592" y="621"/>
                  </a:lnTo>
                  <a:lnTo>
                    <a:pt x="611" y="647"/>
                  </a:lnTo>
                  <a:lnTo>
                    <a:pt x="636" y="660"/>
                  </a:lnTo>
                  <a:lnTo>
                    <a:pt x="663" y="685"/>
                  </a:lnTo>
                  <a:close/>
                  <a:moveTo>
                    <a:pt x="182" y="123"/>
                  </a:moveTo>
                  <a:lnTo>
                    <a:pt x="210" y="142"/>
                  </a:lnTo>
                  <a:lnTo>
                    <a:pt x="228" y="171"/>
                  </a:lnTo>
                  <a:lnTo>
                    <a:pt x="200" y="176"/>
                  </a:lnTo>
                  <a:lnTo>
                    <a:pt x="189" y="201"/>
                  </a:lnTo>
                  <a:lnTo>
                    <a:pt x="182" y="227"/>
                  </a:lnTo>
                  <a:lnTo>
                    <a:pt x="156" y="236"/>
                  </a:lnTo>
                  <a:lnTo>
                    <a:pt x="166" y="206"/>
                  </a:lnTo>
                  <a:lnTo>
                    <a:pt x="156" y="181"/>
                  </a:lnTo>
                  <a:lnTo>
                    <a:pt x="168" y="153"/>
                  </a:lnTo>
                  <a:lnTo>
                    <a:pt x="177" y="127"/>
                  </a:lnTo>
                  <a:lnTo>
                    <a:pt x="182" y="123"/>
                  </a:lnTo>
                  <a:close/>
                  <a:moveTo>
                    <a:pt x="244" y="183"/>
                  </a:moveTo>
                  <a:lnTo>
                    <a:pt x="272" y="206"/>
                  </a:lnTo>
                  <a:lnTo>
                    <a:pt x="298" y="192"/>
                  </a:lnTo>
                  <a:lnTo>
                    <a:pt x="272" y="220"/>
                  </a:lnTo>
                  <a:lnTo>
                    <a:pt x="274" y="245"/>
                  </a:lnTo>
                  <a:lnTo>
                    <a:pt x="249" y="245"/>
                  </a:lnTo>
                  <a:lnTo>
                    <a:pt x="254" y="220"/>
                  </a:lnTo>
                  <a:lnTo>
                    <a:pt x="244" y="194"/>
                  </a:lnTo>
                  <a:lnTo>
                    <a:pt x="244" y="183"/>
                  </a:lnTo>
                  <a:close/>
                  <a:moveTo>
                    <a:pt x="1465" y="72"/>
                  </a:moveTo>
                  <a:lnTo>
                    <a:pt x="1490" y="56"/>
                  </a:lnTo>
                  <a:lnTo>
                    <a:pt x="1516" y="56"/>
                  </a:lnTo>
                  <a:lnTo>
                    <a:pt x="1542" y="65"/>
                  </a:lnTo>
                  <a:lnTo>
                    <a:pt x="1544" y="90"/>
                  </a:lnTo>
                  <a:lnTo>
                    <a:pt x="1518" y="114"/>
                  </a:lnTo>
                  <a:lnTo>
                    <a:pt x="1493" y="114"/>
                  </a:lnTo>
                  <a:lnTo>
                    <a:pt x="1465" y="119"/>
                  </a:lnTo>
                  <a:lnTo>
                    <a:pt x="1438" y="116"/>
                  </a:lnTo>
                  <a:lnTo>
                    <a:pt x="1444" y="90"/>
                  </a:lnTo>
                  <a:lnTo>
                    <a:pt x="1465" y="72"/>
                  </a:lnTo>
                  <a:close/>
                  <a:moveTo>
                    <a:pt x="1951" y="17"/>
                  </a:moveTo>
                  <a:lnTo>
                    <a:pt x="1979" y="17"/>
                  </a:lnTo>
                  <a:lnTo>
                    <a:pt x="2005" y="38"/>
                  </a:lnTo>
                  <a:lnTo>
                    <a:pt x="2034" y="31"/>
                  </a:lnTo>
                  <a:lnTo>
                    <a:pt x="2059" y="28"/>
                  </a:lnTo>
                  <a:lnTo>
                    <a:pt x="2085" y="33"/>
                  </a:lnTo>
                  <a:lnTo>
                    <a:pt x="2111" y="28"/>
                  </a:lnTo>
                  <a:lnTo>
                    <a:pt x="2140" y="28"/>
                  </a:lnTo>
                  <a:lnTo>
                    <a:pt x="2165" y="26"/>
                  </a:lnTo>
                  <a:lnTo>
                    <a:pt x="2184" y="52"/>
                  </a:lnTo>
                  <a:lnTo>
                    <a:pt x="2184" y="77"/>
                  </a:lnTo>
                  <a:lnTo>
                    <a:pt x="2157" y="103"/>
                  </a:lnTo>
                  <a:lnTo>
                    <a:pt x="2129" y="103"/>
                  </a:lnTo>
                  <a:lnTo>
                    <a:pt x="2103" y="106"/>
                  </a:lnTo>
                  <a:lnTo>
                    <a:pt x="2074" y="111"/>
                  </a:lnTo>
                  <a:lnTo>
                    <a:pt x="2048" y="119"/>
                  </a:lnTo>
                  <a:lnTo>
                    <a:pt x="2020" y="114"/>
                  </a:lnTo>
                  <a:lnTo>
                    <a:pt x="1995" y="124"/>
                  </a:lnTo>
                  <a:lnTo>
                    <a:pt x="1968" y="127"/>
                  </a:lnTo>
                  <a:lnTo>
                    <a:pt x="1940" y="134"/>
                  </a:lnTo>
                  <a:lnTo>
                    <a:pt x="1914" y="134"/>
                  </a:lnTo>
                  <a:lnTo>
                    <a:pt x="1912" y="106"/>
                  </a:lnTo>
                  <a:lnTo>
                    <a:pt x="1930" y="80"/>
                  </a:lnTo>
                  <a:lnTo>
                    <a:pt x="1956" y="65"/>
                  </a:lnTo>
                  <a:lnTo>
                    <a:pt x="1930" y="70"/>
                  </a:lnTo>
                  <a:lnTo>
                    <a:pt x="1932" y="44"/>
                  </a:lnTo>
                  <a:lnTo>
                    <a:pt x="1951" y="17"/>
                  </a:lnTo>
                  <a:close/>
                  <a:moveTo>
                    <a:pt x="1777" y="93"/>
                  </a:moveTo>
                  <a:lnTo>
                    <a:pt x="1803" y="80"/>
                  </a:lnTo>
                  <a:lnTo>
                    <a:pt x="1818" y="106"/>
                  </a:lnTo>
                  <a:lnTo>
                    <a:pt x="1841" y="80"/>
                  </a:lnTo>
                  <a:lnTo>
                    <a:pt x="1862" y="52"/>
                  </a:lnTo>
                  <a:lnTo>
                    <a:pt x="1889" y="44"/>
                  </a:lnTo>
                  <a:lnTo>
                    <a:pt x="1886" y="70"/>
                  </a:lnTo>
                  <a:lnTo>
                    <a:pt x="1878" y="98"/>
                  </a:lnTo>
                  <a:lnTo>
                    <a:pt x="1855" y="124"/>
                  </a:lnTo>
                  <a:lnTo>
                    <a:pt x="1845" y="150"/>
                  </a:lnTo>
                  <a:lnTo>
                    <a:pt x="1818" y="168"/>
                  </a:lnTo>
                  <a:lnTo>
                    <a:pt x="1800" y="142"/>
                  </a:lnTo>
                  <a:lnTo>
                    <a:pt x="1774" y="127"/>
                  </a:lnTo>
                  <a:lnTo>
                    <a:pt x="1769" y="100"/>
                  </a:lnTo>
                  <a:lnTo>
                    <a:pt x="1777" y="93"/>
                  </a:lnTo>
                  <a:close/>
                  <a:moveTo>
                    <a:pt x="1400" y="155"/>
                  </a:moveTo>
                  <a:lnTo>
                    <a:pt x="1426" y="134"/>
                  </a:lnTo>
                  <a:lnTo>
                    <a:pt x="1454" y="129"/>
                  </a:lnTo>
                  <a:lnTo>
                    <a:pt x="1479" y="123"/>
                  </a:lnTo>
                  <a:lnTo>
                    <a:pt x="1454" y="148"/>
                  </a:lnTo>
                  <a:lnTo>
                    <a:pt x="1428" y="160"/>
                  </a:lnTo>
                  <a:lnTo>
                    <a:pt x="1410" y="186"/>
                  </a:lnTo>
                  <a:lnTo>
                    <a:pt x="1397" y="157"/>
                  </a:lnTo>
                  <a:lnTo>
                    <a:pt x="1400" y="155"/>
                  </a:lnTo>
                  <a:close/>
                  <a:moveTo>
                    <a:pt x="1382" y="957"/>
                  </a:moveTo>
                  <a:lnTo>
                    <a:pt x="1407" y="950"/>
                  </a:lnTo>
                  <a:lnTo>
                    <a:pt x="1433" y="942"/>
                  </a:lnTo>
                  <a:lnTo>
                    <a:pt x="1459" y="927"/>
                  </a:lnTo>
                  <a:lnTo>
                    <a:pt x="1485" y="913"/>
                  </a:lnTo>
                  <a:lnTo>
                    <a:pt x="1509" y="888"/>
                  </a:lnTo>
                  <a:lnTo>
                    <a:pt x="1534" y="867"/>
                  </a:lnTo>
                  <a:lnTo>
                    <a:pt x="1562" y="846"/>
                  </a:lnTo>
                  <a:lnTo>
                    <a:pt x="1567" y="872"/>
                  </a:lnTo>
                  <a:lnTo>
                    <a:pt x="1557" y="898"/>
                  </a:lnTo>
                  <a:lnTo>
                    <a:pt x="1576" y="927"/>
                  </a:lnTo>
                  <a:lnTo>
                    <a:pt x="1550" y="929"/>
                  </a:lnTo>
                  <a:lnTo>
                    <a:pt x="1523" y="947"/>
                  </a:lnTo>
                  <a:lnTo>
                    <a:pt x="1509" y="975"/>
                  </a:lnTo>
                  <a:lnTo>
                    <a:pt x="1482" y="978"/>
                  </a:lnTo>
                  <a:lnTo>
                    <a:pt x="1454" y="989"/>
                  </a:lnTo>
                  <a:lnTo>
                    <a:pt x="1428" y="994"/>
                  </a:lnTo>
                  <a:lnTo>
                    <a:pt x="1400" y="1014"/>
                  </a:lnTo>
                  <a:lnTo>
                    <a:pt x="1373" y="1017"/>
                  </a:lnTo>
                  <a:lnTo>
                    <a:pt x="1368" y="991"/>
                  </a:lnTo>
                  <a:lnTo>
                    <a:pt x="1364" y="966"/>
                  </a:lnTo>
                  <a:lnTo>
                    <a:pt x="1382" y="957"/>
                  </a:lnTo>
                  <a:close/>
                  <a:moveTo>
                    <a:pt x="983" y="880"/>
                  </a:moveTo>
                  <a:lnTo>
                    <a:pt x="1009" y="867"/>
                  </a:lnTo>
                  <a:lnTo>
                    <a:pt x="1035" y="841"/>
                  </a:lnTo>
                  <a:lnTo>
                    <a:pt x="1061" y="844"/>
                  </a:lnTo>
                  <a:lnTo>
                    <a:pt x="1076" y="869"/>
                  </a:lnTo>
                  <a:lnTo>
                    <a:pt x="1051" y="890"/>
                  </a:lnTo>
                  <a:lnTo>
                    <a:pt x="1022" y="903"/>
                  </a:lnTo>
                  <a:lnTo>
                    <a:pt x="996" y="901"/>
                  </a:lnTo>
                  <a:lnTo>
                    <a:pt x="970" y="888"/>
                  </a:lnTo>
                  <a:lnTo>
                    <a:pt x="983" y="88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39" name="Freeform 7"/>
            <p:cNvSpPr>
              <a:spLocks noEditPoints="1"/>
            </p:cNvSpPr>
            <p:nvPr/>
          </p:nvSpPr>
          <p:spPr bwMode="auto">
            <a:xfrm>
              <a:off x="7161943" y="2467233"/>
              <a:ext cx="1079503" cy="880182"/>
            </a:xfrm>
            <a:custGeom>
              <a:avLst/>
              <a:gdLst>
                <a:gd name="T0" fmla="*/ 2147483647 w 1836"/>
                <a:gd name="T1" fmla="*/ 2147483647 h 1497"/>
                <a:gd name="T2" fmla="*/ 2147483647 w 1836"/>
                <a:gd name="T3" fmla="*/ 2147483647 h 1497"/>
                <a:gd name="T4" fmla="*/ 2147483647 w 1836"/>
                <a:gd name="T5" fmla="*/ 2147483647 h 1497"/>
                <a:gd name="T6" fmla="*/ 2147483647 w 1836"/>
                <a:gd name="T7" fmla="*/ 2147483647 h 1497"/>
                <a:gd name="T8" fmla="*/ 2147483647 w 1836"/>
                <a:gd name="T9" fmla="*/ 2147483647 h 1497"/>
                <a:gd name="T10" fmla="*/ 2147483647 w 1836"/>
                <a:gd name="T11" fmla="*/ 2147483647 h 1497"/>
                <a:gd name="T12" fmla="*/ 2147483647 w 1836"/>
                <a:gd name="T13" fmla="*/ 2147483647 h 1497"/>
                <a:gd name="T14" fmla="*/ 2147483647 w 1836"/>
                <a:gd name="T15" fmla="*/ 2147483647 h 1497"/>
                <a:gd name="T16" fmla="*/ 2147483647 w 1836"/>
                <a:gd name="T17" fmla="*/ 2147483647 h 1497"/>
                <a:gd name="T18" fmla="*/ 2147483647 w 1836"/>
                <a:gd name="T19" fmla="*/ 2147483647 h 1497"/>
                <a:gd name="T20" fmla="*/ 2147483647 w 1836"/>
                <a:gd name="T21" fmla="*/ 2147483647 h 1497"/>
                <a:gd name="T22" fmla="*/ 2147483647 w 1836"/>
                <a:gd name="T23" fmla="*/ 2147483647 h 1497"/>
                <a:gd name="T24" fmla="*/ 2147483647 w 1836"/>
                <a:gd name="T25" fmla="*/ 2147483647 h 1497"/>
                <a:gd name="T26" fmla="*/ 2147483647 w 1836"/>
                <a:gd name="T27" fmla="*/ 2147483647 h 1497"/>
                <a:gd name="T28" fmla="*/ 2147483647 w 1836"/>
                <a:gd name="T29" fmla="*/ 2147483647 h 1497"/>
                <a:gd name="T30" fmla="*/ 2147483647 w 1836"/>
                <a:gd name="T31" fmla="*/ 2147483647 h 1497"/>
                <a:gd name="T32" fmla="*/ 2147483647 w 1836"/>
                <a:gd name="T33" fmla="*/ 2147483647 h 1497"/>
                <a:gd name="T34" fmla="*/ 2147483647 w 1836"/>
                <a:gd name="T35" fmla="*/ 2147483647 h 1497"/>
                <a:gd name="T36" fmla="*/ 2147483647 w 1836"/>
                <a:gd name="T37" fmla="*/ 2147483647 h 1497"/>
                <a:gd name="T38" fmla="*/ 2147483647 w 1836"/>
                <a:gd name="T39" fmla="*/ 2147483647 h 1497"/>
                <a:gd name="T40" fmla="*/ 2147483647 w 1836"/>
                <a:gd name="T41" fmla="*/ 2147483647 h 1497"/>
                <a:gd name="T42" fmla="*/ 2147483647 w 1836"/>
                <a:gd name="T43" fmla="*/ 2147483647 h 1497"/>
                <a:gd name="T44" fmla="*/ 2147483647 w 1836"/>
                <a:gd name="T45" fmla="*/ 2147483647 h 1497"/>
                <a:gd name="T46" fmla="*/ 2147483647 w 1836"/>
                <a:gd name="T47" fmla="*/ 2147483647 h 1497"/>
                <a:gd name="T48" fmla="*/ 2147483647 w 1836"/>
                <a:gd name="T49" fmla="*/ 2147483647 h 1497"/>
                <a:gd name="T50" fmla="*/ 2147483647 w 1836"/>
                <a:gd name="T51" fmla="*/ 2147483647 h 1497"/>
                <a:gd name="T52" fmla="*/ 2147483647 w 1836"/>
                <a:gd name="T53" fmla="*/ 2147483647 h 1497"/>
                <a:gd name="T54" fmla="*/ 2147483647 w 1836"/>
                <a:gd name="T55" fmla="*/ 2147483647 h 1497"/>
                <a:gd name="T56" fmla="*/ 2147483647 w 1836"/>
                <a:gd name="T57" fmla="*/ 2147483647 h 1497"/>
                <a:gd name="T58" fmla="*/ 2147483647 w 1836"/>
                <a:gd name="T59" fmla="*/ 2147483647 h 1497"/>
                <a:gd name="T60" fmla="*/ 2147483647 w 1836"/>
                <a:gd name="T61" fmla="*/ 2147483647 h 1497"/>
                <a:gd name="T62" fmla="*/ 2147483647 w 1836"/>
                <a:gd name="T63" fmla="*/ 2147483647 h 1497"/>
                <a:gd name="T64" fmla="*/ 2147483647 w 1836"/>
                <a:gd name="T65" fmla="*/ 2147483647 h 1497"/>
                <a:gd name="T66" fmla="*/ 2147483647 w 1836"/>
                <a:gd name="T67" fmla="*/ 2147483647 h 1497"/>
                <a:gd name="T68" fmla="*/ 2147483647 w 1836"/>
                <a:gd name="T69" fmla="*/ 2147483647 h 1497"/>
                <a:gd name="T70" fmla="*/ 2147483647 w 1836"/>
                <a:gd name="T71" fmla="*/ 2147483647 h 1497"/>
                <a:gd name="T72" fmla="*/ 2147483647 w 1836"/>
                <a:gd name="T73" fmla="*/ 2147483647 h 1497"/>
                <a:gd name="T74" fmla="*/ 2147483647 w 1836"/>
                <a:gd name="T75" fmla="*/ 2147483647 h 1497"/>
                <a:gd name="T76" fmla="*/ 2147483647 w 1836"/>
                <a:gd name="T77" fmla="*/ 2147483647 h 1497"/>
                <a:gd name="T78" fmla="*/ 2147483647 w 1836"/>
                <a:gd name="T79" fmla="*/ 2147483647 h 1497"/>
                <a:gd name="T80" fmla="*/ 2147483647 w 1836"/>
                <a:gd name="T81" fmla="*/ 2147483647 h 1497"/>
                <a:gd name="T82" fmla="*/ 2147483647 w 1836"/>
                <a:gd name="T83" fmla="*/ 2147483647 h 1497"/>
                <a:gd name="T84" fmla="*/ 2147483647 w 1836"/>
                <a:gd name="T85" fmla="*/ 2147483647 h 1497"/>
                <a:gd name="T86" fmla="*/ 2147483647 w 1836"/>
                <a:gd name="T87" fmla="*/ 2147483647 h 1497"/>
                <a:gd name="T88" fmla="*/ 2147483647 w 1836"/>
                <a:gd name="T89" fmla="*/ 2147483647 h 1497"/>
                <a:gd name="T90" fmla="*/ 2147483647 w 1836"/>
                <a:gd name="T91" fmla="*/ 2147483647 h 1497"/>
                <a:gd name="T92" fmla="*/ 2147483647 w 1836"/>
                <a:gd name="T93" fmla="*/ 2147483647 h 1497"/>
                <a:gd name="T94" fmla="*/ 2147483647 w 1836"/>
                <a:gd name="T95" fmla="*/ 2147483647 h 1497"/>
                <a:gd name="T96" fmla="*/ 2147483647 w 1836"/>
                <a:gd name="T97" fmla="*/ 2147483647 h 1497"/>
                <a:gd name="T98" fmla="*/ 2147483647 w 1836"/>
                <a:gd name="T99" fmla="*/ 2147483647 h 1497"/>
                <a:gd name="T100" fmla="*/ 2147483647 w 1836"/>
                <a:gd name="T101" fmla="*/ 2147483647 h 1497"/>
                <a:gd name="T102" fmla="*/ 2147483647 w 1836"/>
                <a:gd name="T103" fmla="*/ 2147483647 h 1497"/>
                <a:gd name="T104" fmla="*/ 2147483647 w 1836"/>
                <a:gd name="T105" fmla="*/ 2147483647 h 1497"/>
                <a:gd name="T106" fmla="*/ 2147483647 w 1836"/>
                <a:gd name="T107" fmla="*/ 2147483647 h 1497"/>
                <a:gd name="T108" fmla="*/ 2147483647 w 1836"/>
                <a:gd name="T109" fmla="*/ 2147483647 h 1497"/>
                <a:gd name="T110" fmla="*/ 0 w 1836"/>
                <a:gd name="T111" fmla="*/ 2147483647 h 1497"/>
                <a:gd name="T112" fmla="*/ 2147483647 w 1836"/>
                <a:gd name="T113" fmla="*/ 2147483647 h 1497"/>
                <a:gd name="T114" fmla="*/ 2147483647 w 1836"/>
                <a:gd name="T115" fmla="*/ 2147483647 h 1497"/>
                <a:gd name="T116" fmla="*/ 2147483647 w 1836"/>
                <a:gd name="T117" fmla="*/ 2147483647 h 1497"/>
                <a:gd name="T118" fmla="*/ 2147483647 w 1836"/>
                <a:gd name="T119" fmla="*/ 2147483647 h 1497"/>
                <a:gd name="T120" fmla="*/ 2147483647 w 1836"/>
                <a:gd name="T121" fmla="*/ 2147483647 h 1497"/>
                <a:gd name="T122" fmla="*/ 2147483647 w 1836"/>
                <a:gd name="T123" fmla="*/ 2147483647 h 149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836" h="1497">
                  <a:moveTo>
                    <a:pt x="1733" y="1035"/>
                  </a:moveTo>
                  <a:lnTo>
                    <a:pt x="1730" y="1018"/>
                  </a:lnTo>
                  <a:lnTo>
                    <a:pt x="1724" y="988"/>
                  </a:lnTo>
                  <a:lnTo>
                    <a:pt x="1721" y="963"/>
                  </a:lnTo>
                  <a:lnTo>
                    <a:pt x="1721" y="912"/>
                  </a:lnTo>
                  <a:lnTo>
                    <a:pt x="1714" y="882"/>
                  </a:lnTo>
                  <a:lnTo>
                    <a:pt x="1686" y="870"/>
                  </a:lnTo>
                  <a:lnTo>
                    <a:pt x="1659" y="891"/>
                  </a:lnTo>
                  <a:lnTo>
                    <a:pt x="1657" y="917"/>
                  </a:lnTo>
                  <a:lnTo>
                    <a:pt x="1665" y="942"/>
                  </a:lnTo>
                  <a:lnTo>
                    <a:pt x="1668" y="970"/>
                  </a:lnTo>
                  <a:lnTo>
                    <a:pt x="1675" y="997"/>
                  </a:lnTo>
                  <a:lnTo>
                    <a:pt x="1650" y="993"/>
                  </a:lnTo>
                  <a:lnTo>
                    <a:pt x="1634" y="968"/>
                  </a:lnTo>
                  <a:lnTo>
                    <a:pt x="1629" y="950"/>
                  </a:lnTo>
                  <a:lnTo>
                    <a:pt x="1618" y="924"/>
                  </a:lnTo>
                  <a:lnTo>
                    <a:pt x="1608" y="898"/>
                  </a:lnTo>
                  <a:lnTo>
                    <a:pt x="1590" y="873"/>
                  </a:lnTo>
                  <a:lnTo>
                    <a:pt x="1564" y="849"/>
                  </a:lnTo>
                  <a:lnTo>
                    <a:pt x="1551" y="820"/>
                  </a:lnTo>
                  <a:lnTo>
                    <a:pt x="1548" y="795"/>
                  </a:lnTo>
                  <a:lnTo>
                    <a:pt x="1544" y="767"/>
                  </a:lnTo>
                  <a:lnTo>
                    <a:pt x="1533" y="740"/>
                  </a:lnTo>
                  <a:lnTo>
                    <a:pt x="1544" y="714"/>
                  </a:lnTo>
                  <a:lnTo>
                    <a:pt x="1541" y="689"/>
                  </a:lnTo>
                  <a:lnTo>
                    <a:pt x="1533" y="660"/>
                  </a:lnTo>
                  <a:lnTo>
                    <a:pt x="1530" y="634"/>
                  </a:lnTo>
                  <a:lnTo>
                    <a:pt x="1525" y="606"/>
                  </a:lnTo>
                  <a:lnTo>
                    <a:pt x="1539" y="578"/>
                  </a:lnTo>
                  <a:lnTo>
                    <a:pt x="1562" y="551"/>
                  </a:lnTo>
                  <a:lnTo>
                    <a:pt x="1569" y="525"/>
                  </a:lnTo>
                  <a:lnTo>
                    <a:pt x="1572" y="497"/>
                  </a:lnTo>
                  <a:lnTo>
                    <a:pt x="1587" y="472"/>
                  </a:lnTo>
                  <a:lnTo>
                    <a:pt x="1569" y="445"/>
                  </a:lnTo>
                  <a:lnTo>
                    <a:pt x="1548" y="417"/>
                  </a:lnTo>
                  <a:lnTo>
                    <a:pt x="1530" y="391"/>
                  </a:lnTo>
                  <a:lnTo>
                    <a:pt x="1518" y="364"/>
                  </a:lnTo>
                  <a:lnTo>
                    <a:pt x="1500" y="336"/>
                  </a:lnTo>
                  <a:lnTo>
                    <a:pt x="1518" y="311"/>
                  </a:lnTo>
                  <a:lnTo>
                    <a:pt x="1544" y="300"/>
                  </a:lnTo>
                  <a:lnTo>
                    <a:pt x="1518" y="283"/>
                  </a:lnTo>
                  <a:lnTo>
                    <a:pt x="1489" y="258"/>
                  </a:lnTo>
                  <a:lnTo>
                    <a:pt x="1463" y="256"/>
                  </a:lnTo>
                  <a:lnTo>
                    <a:pt x="1437" y="262"/>
                  </a:lnTo>
                  <a:lnTo>
                    <a:pt x="1422" y="253"/>
                  </a:lnTo>
                  <a:lnTo>
                    <a:pt x="1396" y="264"/>
                  </a:lnTo>
                  <a:lnTo>
                    <a:pt x="1370" y="262"/>
                  </a:lnTo>
                  <a:lnTo>
                    <a:pt x="1341" y="258"/>
                  </a:lnTo>
                  <a:lnTo>
                    <a:pt x="1316" y="258"/>
                  </a:lnTo>
                  <a:lnTo>
                    <a:pt x="1290" y="256"/>
                  </a:lnTo>
                  <a:lnTo>
                    <a:pt x="1261" y="246"/>
                  </a:lnTo>
                  <a:lnTo>
                    <a:pt x="1235" y="220"/>
                  </a:lnTo>
                  <a:lnTo>
                    <a:pt x="1210" y="200"/>
                  </a:lnTo>
                  <a:lnTo>
                    <a:pt x="1182" y="186"/>
                  </a:lnTo>
                  <a:lnTo>
                    <a:pt x="1152" y="176"/>
                  </a:lnTo>
                  <a:lnTo>
                    <a:pt x="1127" y="152"/>
                  </a:lnTo>
                  <a:lnTo>
                    <a:pt x="1101" y="155"/>
                  </a:lnTo>
                  <a:lnTo>
                    <a:pt x="1073" y="145"/>
                  </a:lnTo>
                  <a:lnTo>
                    <a:pt x="1046" y="132"/>
                  </a:lnTo>
                  <a:lnTo>
                    <a:pt x="1018" y="127"/>
                  </a:lnTo>
                  <a:lnTo>
                    <a:pt x="993" y="122"/>
                  </a:lnTo>
                  <a:lnTo>
                    <a:pt x="954" y="122"/>
                  </a:lnTo>
                  <a:lnTo>
                    <a:pt x="933" y="119"/>
                  </a:lnTo>
                  <a:lnTo>
                    <a:pt x="912" y="127"/>
                  </a:lnTo>
                  <a:lnTo>
                    <a:pt x="884" y="132"/>
                  </a:lnTo>
                  <a:lnTo>
                    <a:pt x="858" y="142"/>
                  </a:lnTo>
                  <a:lnTo>
                    <a:pt x="829" y="158"/>
                  </a:lnTo>
                  <a:lnTo>
                    <a:pt x="809" y="186"/>
                  </a:lnTo>
                  <a:lnTo>
                    <a:pt x="783" y="194"/>
                  </a:lnTo>
                  <a:lnTo>
                    <a:pt x="757" y="217"/>
                  </a:lnTo>
                  <a:lnTo>
                    <a:pt x="734" y="244"/>
                  </a:lnTo>
                  <a:lnTo>
                    <a:pt x="708" y="253"/>
                  </a:lnTo>
                  <a:lnTo>
                    <a:pt x="680" y="256"/>
                  </a:lnTo>
                  <a:lnTo>
                    <a:pt x="651" y="262"/>
                  </a:lnTo>
                  <a:lnTo>
                    <a:pt x="625" y="272"/>
                  </a:lnTo>
                  <a:lnTo>
                    <a:pt x="599" y="262"/>
                  </a:lnTo>
                  <a:lnTo>
                    <a:pt x="571" y="272"/>
                  </a:lnTo>
                  <a:lnTo>
                    <a:pt x="545" y="279"/>
                  </a:lnTo>
                  <a:lnTo>
                    <a:pt x="519" y="297"/>
                  </a:lnTo>
                  <a:lnTo>
                    <a:pt x="527" y="323"/>
                  </a:lnTo>
                  <a:lnTo>
                    <a:pt x="527" y="352"/>
                  </a:lnTo>
                  <a:lnTo>
                    <a:pt x="521" y="373"/>
                  </a:lnTo>
                  <a:lnTo>
                    <a:pt x="509" y="401"/>
                  </a:lnTo>
                  <a:lnTo>
                    <a:pt x="496" y="427"/>
                  </a:lnTo>
                  <a:lnTo>
                    <a:pt x="470" y="435"/>
                  </a:lnTo>
                  <a:lnTo>
                    <a:pt x="442" y="458"/>
                  </a:lnTo>
                  <a:lnTo>
                    <a:pt x="431" y="486"/>
                  </a:lnTo>
                  <a:lnTo>
                    <a:pt x="434" y="513"/>
                  </a:lnTo>
                  <a:lnTo>
                    <a:pt x="460" y="510"/>
                  </a:lnTo>
                  <a:lnTo>
                    <a:pt x="488" y="515"/>
                  </a:lnTo>
                  <a:lnTo>
                    <a:pt x="514" y="528"/>
                  </a:lnTo>
                  <a:lnTo>
                    <a:pt x="540" y="520"/>
                  </a:lnTo>
                  <a:lnTo>
                    <a:pt x="548" y="495"/>
                  </a:lnTo>
                  <a:lnTo>
                    <a:pt x="574" y="502"/>
                  </a:lnTo>
                  <a:lnTo>
                    <a:pt x="587" y="528"/>
                  </a:lnTo>
                  <a:lnTo>
                    <a:pt x="613" y="515"/>
                  </a:lnTo>
                  <a:lnTo>
                    <a:pt x="638" y="523"/>
                  </a:lnTo>
                  <a:lnTo>
                    <a:pt x="666" y="536"/>
                  </a:lnTo>
                  <a:lnTo>
                    <a:pt x="693" y="553"/>
                  </a:lnTo>
                  <a:lnTo>
                    <a:pt x="719" y="539"/>
                  </a:lnTo>
                  <a:lnTo>
                    <a:pt x="716" y="564"/>
                  </a:lnTo>
                  <a:lnTo>
                    <a:pt x="744" y="551"/>
                  </a:lnTo>
                  <a:lnTo>
                    <a:pt x="770" y="551"/>
                  </a:lnTo>
                  <a:lnTo>
                    <a:pt x="744" y="574"/>
                  </a:lnTo>
                  <a:lnTo>
                    <a:pt x="758" y="601"/>
                  </a:lnTo>
                  <a:lnTo>
                    <a:pt x="783" y="590"/>
                  </a:lnTo>
                  <a:lnTo>
                    <a:pt x="793" y="590"/>
                  </a:lnTo>
                  <a:lnTo>
                    <a:pt x="775" y="619"/>
                  </a:lnTo>
                  <a:lnTo>
                    <a:pt x="765" y="645"/>
                  </a:lnTo>
                  <a:lnTo>
                    <a:pt x="775" y="673"/>
                  </a:lnTo>
                  <a:lnTo>
                    <a:pt x="786" y="699"/>
                  </a:lnTo>
                  <a:lnTo>
                    <a:pt x="814" y="717"/>
                  </a:lnTo>
                  <a:lnTo>
                    <a:pt x="816" y="742"/>
                  </a:lnTo>
                  <a:lnTo>
                    <a:pt x="843" y="756"/>
                  </a:lnTo>
                  <a:lnTo>
                    <a:pt x="868" y="772"/>
                  </a:lnTo>
                  <a:lnTo>
                    <a:pt x="892" y="797"/>
                  </a:lnTo>
                  <a:lnTo>
                    <a:pt x="917" y="795"/>
                  </a:lnTo>
                  <a:lnTo>
                    <a:pt x="943" y="781"/>
                  </a:lnTo>
                  <a:lnTo>
                    <a:pt x="972" y="774"/>
                  </a:lnTo>
                  <a:lnTo>
                    <a:pt x="998" y="774"/>
                  </a:lnTo>
                  <a:lnTo>
                    <a:pt x="1011" y="802"/>
                  </a:lnTo>
                  <a:lnTo>
                    <a:pt x="1013" y="802"/>
                  </a:lnTo>
                  <a:lnTo>
                    <a:pt x="1039" y="808"/>
                  </a:lnTo>
                  <a:lnTo>
                    <a:pt x="1065" y="792"/>
                  </a:lnTo>
                  <a:lnTo>
                    <a:pt x="1090" y="797"/>
                  </a:lnTo>
                  <a:lnTo>
                    <a:pt x="1119" y="802"/>
                  </a:lnTo>
                  <a:lnTo>
                    <a:pt x="1132" y="802"/>
                  </a:lnTo>
                  <a:lnTo>
                    <a:pt x="1158" y="790"/>
                  </a:lnTo>
                  <a:lnTo>
                    <a:pt x="1186" y="785"/>
                  </a:lnTo>
                  <a:lnTo>
                    <a:pt x="1212" y="777"/>
                  </a:lnTo>
                  <a:lnTo>
                    <a:pt x="1238" y="774"/>
                  </a:lnTo>
                  <a:lnTo>
                    <a:pt x="1267" y="781"/>
                  </a:lnTo>
                  <a:lnTo>
                    <a:pt x="1293" y="787"/>
                  </a:lnTo>
                  <a:lnTo>
                    <a:pt x="1321" y="777"/>
                  </a:lnTo>
                  <a:lnTo>
                    <a:pt x="1346" y="777"/>
                  </a:lnTo>
                  <a:lnTo>
                    <a:pt x="1360" y="785"/>
                  </a:lnTo>
                  <a:lnTo>
                    <a:pt x="1388" y="769"/>
                  </a:lnTo>
                  <a:lnTo>
                    <a:pt x="1414" y="758"/>
                  </a:lnTo>
                  <a:lnTo>
                    <a:pt x="1440" y="740"/>
                  </a:lnTo>
                  <a:lnTo>
                    <a:pt x="1468" y="746"/>
                  </a:lnTo>
                  <a:lnTo>
                    <a:pt x="1447" y="774"/>
                  </a:lnTo>
                  <a:lnTo>
                    <a:pt x="1422" y="800"/>
                  </a:lnTo>
                  <a:lnTo>
                    <a:pt x="1447" y="800"/>
                  </a:lnTo>
                  <a:lnTo>
                    <a:pt x="1476" y="785"/>
                  </a:lnTo>
                  <a:lnTo>
                    <a:pt x="1468" y="813"/>
                  </a:lnTo>
                  <a:lnTo>
                    <a:pt x="1458" y="839"/>
                  </a:lnTo>
                  <a:lnTo>
                    <a:pt x="1486" y="846"/>
                  </a:lnTo>
                  <a:lnTo>
                    <a:pt x="1458" y="870"/>
                  </a:lnTo>
                  <a:lnTo>
                    <a:pt x="1432" y="852"/>
                  </a:lnTo>
                  <a:lnTo>
                    <a:pt x="1406" y="855"/>
                  </a:lnTo>
                  <a:lnTo>
                    <a:pt x="1396" y="862"/>
                  </a:lnTo>
                  <a:lnTo>
                    <a:pt x="1422" y="888"/>
                  </a:lnTo>
                  <a:lnTo>
                    <a:pt x="1412" y="914"/>
                  </a:lnTo>
                  <a:lnTo>
                    <a:pt x="1385" y="903"/>
                  </a:lnTo>
                  <a:lnTo>
                    <a:pt x="1375" y="929"/>
                  </a:lnTo>
                  <a:lnTo>
                    <a:pt x="1373" y="903"/>
                  </a:lnTo>
                  <a:lnTo>
                    <a:pt x="1346" y="896"/>
                  </a:lnTo>
                  <a:lnTo>
                    <a:pt x="1321" y="914"/>
                  </a:lnTo>
                  <a:lnTo>
                    <a:pt x="1306" y="885"/>
                  </a:lnTo>
                  <a:lnTo>
                    <a:pt x="1300" y="912"/>
                  </a:lnTo>
                  <a:lnTo>
                    <a:pt x="1290" y="885"/>
                  </a:lnTo>
                  <a:lnTo>
                    <a:pt x="1282" y="912"/>
                  </a:lnTo>
                  <a:lnTo>
                    <a:pt x="1272" y="937"/>
                  </a:lnTo>
                  <a:lnTo>
                    <a:pt x="1272" y="885"/>
                  </a:lnTo>
                  <a:lnTo>
                    <a:pt x="1246" y="862"/>
                  </a:lnTo>
                  <a:lnTo>
                    <a:pt x="1219" y="850"/>
                  </a:lnTo>
                  <a:lnTo>
                    <a:pt x="1194" y="855"/>
                  </a:lnTo>
                  <a:lnTo>
                    <a:pt x="1168" y="864"/>
                  </a:lnTo>
                  <a:lnTo>
                    <a:pt x="1140" y="883"/>
                  </a:lnTo>
                  <a:lnTo>
                    <a:pt x="1104" y="935"/>
                  </a:lnTo>
                  <a:lnTo>
                    <a:pt x="1083" y="961"/>
                  </a:lnTo>
                  <a:lnTo>
                    <a:pt x="1073" y="968"/>
                  </a:lnTo>
                  <a:lnTo>
                    <a:pt x="1044" y="989"/>
                  </a:lnTo>
                  <a:lnTo>
                    <a:pt x="1018" y="981"/>
                  </a:lnTo>
                  <a:lnTo>
                    <a:pt x="993" y="958"/>
                  </a:lnTo>
                  <a:lnTo>
                    <a:pt x="967" y="950"/>
                  </a:lnTo>
                  <a:lnTo>
                    <a:pt x="938" y="968"/>
                  </a:lnTo>
                  <a:lnTo>
                    <a:pt x="912" y="950"/>
                  </a:lnTo>
                  <a:lnTo>
                    <a:pt x="887" y="945"/>
                  </a:lnTo>
                  <a:lnTo>
                    <a:pt x="858" y="942"/>
                  </a:lnTo>
                  <a:lnTo>
                    <a:pt x="832" y="963"/>
                  </a:lnTo>
                  <a:lnTo>
                    <a:pt x="806" y="971"/>
                  </a:lnTo>
                  <a:lnTo>
                    <a:pt x="778" y="974"/>
                  </a:lnTo>
                  <a:lnTo>
                    <a:pt x="783" y="1000"/>
                  </a:lnTo>
                  <a:lnTo>
                    <a:pt x="793" y="1028"/>
                  </a:lnTo>
                  <a:lnTo>
                    <a:pt x="820" y="1044"/>
                  </a:lnTo>
                  <a:lnTo>
                    <a:pt x="845" y="1039"/>
                  </a:lnTo>
                  <a:lnTo>
                    <a:pt x="873" y="1033"/>
                  </a:lnTo>
                  <a:lnTo>
                    <a:pt x="899" y="1039"/>
                  </a:lnTo>
                  <a:lnTo>
                    <a:pt x="928" y="1059"/>
                  </a:lnTo>
                  <a:lnTo>
                    <a:pt x="956" y="1077"/>
                  </a:lnTo>
                  <a:lnTo>
                    <a:pt x="982" y="1101"/>
                  </a:lnTo>
                  <a:lnTo>
                    <a:pt x="1005" y="1126"/>
                  </a:lnTo>
                  <a:lnTo>
                    <a:pt x="1007" y="1152"/>
                  </a:lnTo>
                  <a:lnTo>
                    <a:pt x="1018" y="1170"/>
                  </a:lnTo>
                  <a:lnTo>
                    <a:pt x="1044" y="1155"/>
                  </a:lnTo>
                  <a:lnTo>
                    <a:pt x="1073" y="1175"/>
                  </a:lnTo>
                  <a:lnTo>
                    <a:pt x="1073" y="1204"/>
                  </a:lnTo>
                  <a:lnTo>
                    <a:pt x="1099" y="1230"/>
                  </a:lnTo>
                  <a:lnTo>
                    <a:pt x="1108" y="1258"/>
                  </a:lnTo>
                  <a:lnTo>
                    <a:pt x="1096" y="1284"/>
                  </a:lnTo>
                  <a:lnTo>
                    <a:pt x="1067" y="1281"/>
                  </a:lnTo>
                  <a:lnTo>
                    <a:pt x="1041" y="1286"/>
                  </a:lnTo>
                  <a:lnTo>
                    <a:pt x="1052" y="1313"/>
                  </a:lnTo>
                  <a:lnTo>
                    <a:pt x="1060" y="1339"/>
                  </a:lnTo>
                  <a:lnTo>
                    <a:pt x="1070" y="1367"/>
                  </a:lnTo>
                  <a:lnTo>
                    <a:pt x="1070" y="1393"/>
                  </a:lnTo>
                  <a:lnTo>
                    <a:pt x="1094" y="1419"/>
                  </a:lnTo>
                  <a:lnTo>
                    <a:pt x="1117" y="1447"/>
                  </a:lnTo>
                  <a:lnTo>
                    <a:pt x="1143" y="1442"/>
                  </a:lnTo>
                  <a:lnTo>
                    <a:pt x="1171" y="1435"/>
                  </a:lnTo>
                  <a:lnTo>
                    <a:pt x="1196" y="1437"/>
                  </a:lnTo>
                  <a:lnTo>
                    <a:pt x="1225" y="1435"/>
                  </a:lnTo>
                  <a:lnTo>
                    <a:pt x="1251" y="1408"/>
                  </a:lnTo>
                  <a:lnTo>
                    <a:pt x="1274" y="1382"/>
                  </a:lnTo>
                  <a:lnTo>
                    <a:pt x="1297" y="1357"/>
                  </a:lnTo>
                  <a:lnTo>
                    <a:pt x="1279" y="1331"/>
                  </a:lnTo>
                  <a:lnTo>
                    <a:pt x="1292" y="1302"/>
                  </a:lnTo>
                  <a:lnTo>
                    <a:pt x="1318" y="1276"/>
                  </a:lnTo>
                  <a:lnTo>
                    <a:pt x="1344" y="1253"/>
                  </a:lnTo>
                  <a:lnTo>
                    <a:pt x="1336" y="1228"/>
                  </a:lnTo>
                  <a:lnTo>
                    <a:pt x="1318" y="1217"/>
                  </a:lnTo>
                  <a:lnTo>
                    <a:pt x="1320" y="1191"/>
                  </a:lnTo>
                  <a:lnTo>
                    <a:pt x="1346" y="1207"/>
                  </a:lnTo>
                  <a:lnTo>
                    <a:pt x="1370" y="1178"/>
                  </a:lnTo>
                  <a:lnTo>
                    <a:pt x="1370" y="1152"/>
                  </a:lnTo>
                  <a:lnTo>
                    <a:pt x="1373" y="1126"/>
                  </a:lnTo>
                  <a:lnTo>
                    <a:pt x="1375" y="1097"/>
                  </a:lnTo>
                  <a:lnTo>
                    <a:pt x="1396" y="1072"/>
                  </a:lnTo>
                  <a:lnTo>
                    <a:pt x="1421" y="1059"/>
                  </a:lnTo>
                  <a:lnTo>
                    <a:pt x="1442" y="1033"/>
                  </a:lnTo>
                  <a:lnTo>
                    <a:pt x="1442" y="1085"/>
                  </a:lnTo>
                  <a:lnTo>
                    <a:pt x="1414" y="1103"/>
                  </a:lnTo>
                  <a:lnTo>
                    <a:pt x="1387" y="1129"/>
                  </a:lnTo>
                  <a:lnTo>
                    <a:pt x="1378" y="1157"/>
                  </a:lnTo>
                  <a:lnTo>
                    <a:pt x="1380" y="1184"/>
                  </a:lnTo>
                  <a:lnTo>
                    <a:pt x="1378" y="1212"/>
                  </a:lnTo>
                  <a:lnTo>
                    <a:pt x="1367" y="1237"/>
                  </a:lnTo>
                  <a:lnTo>
                    <a:pt x="1383" y="1263"/>
                  </a:lnTo>
                  <a:lnTo>
                    <a:pt x="1396" y="1292"/>
                  </a:lnTo>
                  <a:lnTo>
                    <a:pt x="1424" y="1300"/>
                  </a:lnTo>
                  <a:lnTo>
                    <a:pt x="1435" y="1274"/>
                  </a:lnTo>
                  <a:lnTo>
                    <a:pt x="1447" y="1300"/>
                  </a:lnTo>
                  <a:lnTo>
                    <a:pt x="1465" y="1325"/>
                  </a:lnTo>
                  <a:lnTo>
                    <a:pt x="1491" y="1348"/>
                  </a:lnTo>
                  <a:lnTo>
                    <a:pt x="1520" y="1348"/>
                  </a:lnTo>
                  <a:lnTo>
                    <a:pt x="1548" y="1331"/>
                  </a:lnTo>
                  <a:lnTo>
                    <a:pt x="1553" y="1357"/>
                  </a:lnTo>
                  <a:lnTo>
                    <a:pt x="1553" y="1382"/>
                  </a:lnTo>
                  <a:lnTo>
                    <a:pt x="1580" y="1398"/>
                  </a:lnTo>
                  <a:lnTo>
                    <a:pt x="1605" y="1401"/>
                  </a:lnTo>
                  <a:lnTo>
                    <a:pt x="1620" y="1375"/>
                  </a:lnTo>
                  <a:lnTo>
                    <a:pt x="1647" y="1385"/>
                  </a:lnTo>
                  <a:lnTo>
                    <a:pt x="1665" y="1411"/>
                  </a:lnTo>
                  <a:lnTo>
                    <a:pt x="1693" y="1417"/>
                  </a:lnTo>
                  <a:lnTo>
                    <a:pt x="1716" y="1390"/>
                  </a:lnTo>
                  <a:lnTo>
                    <a:pt x="1742" y="1380"/>
                  </a:lnTo>
                  <a:lnTo>
                    <a:pt x="1771" y="1382"/>
                  </a:lnTo>
                  <a:lnTo>
                    <a:pt x="1797" y="1385"/>
                  </a:lnTo>
                  <a:lnTo>
                    <a:pt x="1805" y="1389"/>
                  </a:lnTo>
                  <a:lnTo>
                    <a:pt x="1808" y="1389"/>
                  </a:lnTo>
                  <a:lnTo>
                    <a:pt x="1813" y="1391"/>
                  </a:lnTo>
                  <a:lnTo>
                    <a:pt x="1805" y="1384"/>
                  </a:lnTo>
                  <a:lnTo>
                    <a:pt x="1786" y="1360"/>
                  </a:lnTo>
                  <a:lnTo>
                    <a:pt x="1775" y="1340"/>
                  </a:lnTo>
                  <a:lnTo>
                    <a:pt x="1761" y="1315"/>
                  </a:lnTo>
                  <a:lnTo>
                    <a:pt x="1755" y="1301"/>
                  </a:lnTo>
                  <a:lnTo>
                    <a:pt x="1749" y="1285"/>
                  </a:lnTo>
                  <a:lnTo>
                    <a:pt x="1742" y="1268"/>
                  </a:lnTo>
                  <a:lnTo>
                    <a:pt x="1736" y="1249"/>
                  </a:lnTo>
                  <a:lnTo>
                    <a:pt x="1732" y="1231"/>
                  </a:lnTo>
                  <a:lnTo>
                    <a:pt x="1728" y="1213"/>
                  </a:lnTo>
                  <a:lnTo>
                    <a:pt x="1724" y="1195"/>
                  </a:lnTo>
                  <a:lnTo>
                    <a:pt x="1723" y="1177"/>
                  </a:lnTo>
                  <a:lnTo>
                    <a:pt x="1722" y="1160"/>
                  </a:lnTo>
                  <a:lnTo>
                    <a:pt x="1721" y="1144"/>
                  </a:lnTo>
                  <a:lnTo>
                    <a:pt x="1721" y="1128"/>
                  </a:lnTo>
                  <a:lnTo>
                    <a:pt x="1722" y="1113"/>
                  </a:lnTo>
                  <a:lnTo>
                    <a:pt x="1724" y="1086"/>
                  </a:lnTo>
                  <a:lnTo>
                    <a:pt x="1728" y="1063"/>
                  </a:lnTo>
                  <a:lnTo>
                    <a:pt x="1731" y="1046"/>
                  </a:lnTo>
                  <a:lnTo>
                    <a:pt x="1733" y="1035"/>
                  </a:lnTo>
                  <a:close/>
                  <a:moveTo>
                    <a:pt x="305" y="145"/>
                  </a:moveTo>
                  <a:lnTo>
                    <a:pt x="318" y="171"/>
                  </a:lnTo>
                  <a:lnTo>
                    <a:pt x="290" y="189"/>
                  </a:lnTo>
                  <a:lnTo>
                    <a:pt x="264" y="181"/>
                  </a:lnTo>
                  <a:lnTo>
                    <a:pt x="256" y="155"/>
                  </a:lnTo>
                  <a:lnTo>
                    <a:pt x="284" y="152"/>
                  </a:lnTo>
                  <a:lnTo>
                    <a:pt x="305" y="145"/>
                  </a:lnTo>
                  <a:close/>
                  <a:moveTo>
                    <a:pt x="378" y="269"/>
                  </a:moveTo>
                  <a:lnTo>
                    <a:pt x="404" y="274"/>
                  </a:lnTo>
                  <a:lnTo>
                    <a:pt x="378" y="300"/>
                  </a:lnTo>
                  <a:lnTo>
                    <a:pt x="351" y="306"/>
                  </a:lnTo>
                  <a:lnTo>
                    <a:pt x="323" y="313"/>
                  </a:lnTo>
                  <a:lnTo>
                    <a:pt x="298" y="321"/>
                  </a:lnTo>
                  <a:lnTo>
                    <a:pt x="243" y="321"/>
                  </a:lnTo>
                  <a:lnTo>
                    <a:pt x="238" y="295"/>
                  </a:lnTo>
                  <a:lnTo>
                    <a:pt x="266" y="295"/>
                  </a:lnTo>
                  <a:lnTo>
                    <a:pt x="293" y="290"/>
                  </a:lnTo>
                  <a:lnTo>
                    <a:pt x="318" y="285"/>
                  </a:lnTo>
                  <a:lnTo>
                    <a:pt x="346" y="287"/>
                  </a:lnTo>
                  <a:lnTo>
                    <a:pt x="372" y="269"/>
                  </a:lnTo>
                  <a:lnTo>
                    <a:pt x="378" y="269"/>
                  </a:lnTo>
                  <a:close/>
                  <a:moveTo>
                    <a:pt x="399" y="311"/>
                  </a:moveTo>
                  <a:lnTo>
                    <a:pt x="424" y="321"/>
                  </a:lnTo>
                  <a:lnTo>
                    <a:pt x="450" y="326"/>
                  </a:lnTo>
                  <a:lnTo>
                    <a:pt x="455" y="352"/>
                  </a:lnTo>
                  <a:lnTo>
                    <a:pt x="457" y="380"/>
                  </a:lnTo>
                  <a:lnTo>
                    <a:pt x="450" y="406"/>
                  </a:lnTo>
                  <a:lnTo>
                    <a:pt x="448" y="433"/>
                  </a:lnTo>
                  <a:lnTo>
                    <a:pt x="434" y="458"/>
                  </a:lnTo>
                  <a:lnTo>
                    <a:pt x="409" y="466"/>
                  </a:lnTo>
                  <a:lnTo>
                    <a:pt x="381" y="468"/>
                  </a:lnTo>
                  <a:lnTo>
                    <a:pt x="360" y="442"/>
                  </a:lnTo>
                  <a:lnTo>
                    <a:pt x="344" y="417"/>
                  </a:lnTo>
                  <a:lnTo>
                    <a:pt x="323" y="391"/>
                  </a:lnTo>
                  <a:lnTo>
                    <a:pt x="326" y="364"/>
                  </a:lnTo>
                  <a:lnTo>
                    <a:pt x="313" y="336"/>
                  </a:lnTo>
                  <a:lnTo>
                    <a:pt x="339" y="329"/>
                  </a:lnTo>
                  <a:lnTo>
                    <a:pt x="367" y="321"/>
                  </a:lnTo>
                  <a:lnTo>
                    <a:pt x="396" y="311"/>
                  </a:lnTo>
                  <a:lnTo>
                    <a:pt x="399" y="311"/>
                  </a:lnTo>
                  <a:close/>
                  <a:moveTo>
                    <a:pt x="660" y="921"/>
                  </a:moveTo>
                  <a:lnTo>
                    <a:pt x="634" y="932"/>
                  </a:lnTo>
                  <a:lnTo>
                    <a:pt x="660" y="921"/>
                  </a:lnTo>
                  <a:close/>
                  <a:moveTo>
                    <a:pt x="372" y="0"/>
                  </a:moveTo>
                  <a:lnTo>
                    <a:pt x="372" y="0"/>
                  </a:lnTo>
                  <a:lnTo>
                    <a:pt x="344" y="7"/>
                  </a:lnTo>
                  <a:lnTo>
                    <a:pt x="318" y="13"/>
                  </a:lnTo>
                  <a:lnTo>
                    <a:pt x="293" y="16"/>
                  </a:lnTo>
                  <a:lnTo>
                    <a:pt x="266" y="18"/>
                  </a:lnTo>
                  <a:lnTo>
                    <a:pt x="238" y="28"/>
                  </a:lnTo>
                  <a:lnTo>
                    <a:pt x="212" y="23"/>
                  </a:lnTo>
                  <a:lnTo>
                    <a:pt x="184" y="34"/>
                  </a:lnTo>
                  <a:lnTo>
                    <a:pt x="184" y="60"/>
                  </a:lnTo>
                  <a:lnTo>
                    <a:pt x="212" y="46"/>
                  </a:lnTo>
                  <a:lnTo>
                    <a:pt x="222" y="72"/>
                  </a:lnTo>
                  <a:lnTo>
                    <a:pt x="194" y="72"/>
                  </a:lnTo>
                  <a:lnTo>
                    <a:pt x="168" y="67"/>
                  </a:lnTo>
                  <a:lnTo>
                    <a:pt x="194" y="94"/>
                  </a:lnTo>
                  <a:lnTo>
                    <a:pt x="220" y="94"/>
                  </a:lnTo>
                  <a:lnTo>
                    <a:pt x="245" y="90"/>
                  </a:lnTo>
                  <a:lnTo>
                    <a:pt x="272" y="117"/>
                  </a:lnTo>
                  <a:lnTo>
                    <a:pt x="274" y="142"/>
                  </a:lnTo>
                  <a:lnTo>
                    <a:pt x="284" y="117"/>
                  </a:lnTo>
                  <a:lnTo>
                    <a:pt x="311" y="106"/>
                  </a:lnTo>
                  <a:lnTo>
                    <a:pt x="328" y="132"/>
                  </a:lnTo>
                  <a:lnTo>
                    <a:pt x="355" y="155"/>
                  </a:lnTo>
                  <a:lnTo>
                    <a:pt x="380" y="152"/>
                  </a:lnTo>
                  <a:lnTo>
                    <a:pt x="409" y="134"/>
                  </a:lnTo>
                  <a:lnTo>
                    <a:pt x="404" y="108"/>
                  </a:lnTo>
                  <a:lnTo>
                    <a:pt x="378" y="101"/>
                  </a:lnTo>
                  <a:lnTo>
                    <a:pt x="349" y="101"/>
                  </a:lnTo>
                  <a:lnTo>
                    <a:pt x="332" y="72"/>
                  </a:lnTo>
                  <a:lnTo>
                    <a:pt x="303" y="49"/>
                  </a:lnTo>
                  <a:lnTo>
                    <a:pt x="332" y="30"/>
                  </a:lnTo>
                  <a:lnTo>
                    <a:pt x="357" y="60"/>
                  </a:lnTo>
                  <a:lnTo>
                    <a:pt x="370" y="85"/>
                  </a:lnTo>
                  <a:lnTo>
                    <a:pt x="396" y="94"/>
                  </a:lnTo>
                  <a:lnTo>
                    <a:pt x="413" y="119"/>
                  </a:lnTo>
                  <a:lnTo>
                    <a:pt x="443" y="127"/>
                  </a:lnTo>
                  <a:lnTo>
                    <a:pt x="468" y="111"/>
                  </a:lnTo>
                  <a:lnTo>
                    <a:pt x="494" y="117"/>
                  </a:lnTo>
                  <a:lnTo>
                    <a:pt x="519" y="134"/>
                  </a:lnTo>
                  <a:lnTo>
                    <a:pt x="540" y="106"/>
                  </a:lnTo>
                  <a:lnTo>
                    <a:pt x="538" y="80"/>
                  </a:lnTo>
                  <a:lnTo>
                    <a:pt x="538" y="55"/>
                  </a:lnTo>
                  <a:lnTo>
                    <a:pt x="510" y="46"/>
                  </a:lnTo>
                  <a:lnTo>
                    <a:pt x="484" y="26"/>
                  </a:lnTo>
                  <a:lnTo>
                    <a:pt x="457" y="23"/>
                  </a:lnTo>
                  <a:lnTo>
                    <a:pt x="432" y="16"/>
                  </a:lnTo>
                  <a:lnTo>
                    <a:pt x="404" y="7"/>
                  </a:lnTo>
                  <a:lnTo>
                    <a:pt x="378" y="0"/>
                  </a:lnTo>
                  <a:lnTo>
                    <a:pt x="372" y="0"/>
                  </a:lnTo>
                  <a:close/>
                  <a:moveTo>
                    <a:pt x="81" y="616"/>
                  </a:moveTo>
                  <a:lnTo>
                    <a:pt x="98" y="611"/>
                  </a:lnTo>
                  <a:lnTo>
                    <a:pt x="127" y="606"/>
                  </a:lnTo>
                  <a:lnTo>
                    <a:pt x="153" y="608"/>
                  </a:lnTo>
                  <a:lnTo>
                    <a:pt x="181" y="598"/>
                  </a:lnTo>
                  <a:lnTo>
                    <a:pt x="207" y="601"/>
                  </a:lnTo>
                  <a:lnTo>
                    <a:pt x="225" y="626"/>
                  </a:lnTo>
                  <a:lnTo>
                    <a:pt x="225" y="652"/>
                  </a:lnTo>
                  <a:lnTo>
                    <a:pt x="207" y="681"/>
                  </a:lnTo>
                  <a:lnTo>
                    <a:pt x="215" y="707"/>
                  </a:lnTo>
                  <a:lnTo>
                    <a:pt x="189" y="702"/>
                  </a:lnTo>
                  <a:lnTo>
                    <a:pt x="160" y="723"/>
                  </a:lnTo>
                  <a:lnTo>
                    <a:pt x="134" y="725"/>
                  </a:lnTo>
                  <a:lnTo>
                    <a:pt x="106" y="712"/>
                  </a:lnTo>
                  <a:lnTo>
                    <a:pt x="81" y="709"/>
                  </a:lnTo>
                  <a:lnTo>
                    <a:pt x="54" y="704"/>
                  </a:lnTo>
                  <a:lnTo>
                    <a:pt x="28" y="693"/>
                  </a:lnTo>
                  <a:lnTo>
                    <a:pt x="0" y="675"/>
                  </a:lnTo>
                  <a:lnTo>
                    <a:pt x="3" y="649"/>
                  </a:lnTo>
                  <a:lnTo>
                    <a:pt x="31" y="642"/>
                  </a:lnTo>
                  <a:lnTo>
                    <a:pt x="58" y="629"/>
                  </a:lnTo>
                  <a:lnTo>
                    <a:pt x="81" y="616"/>
                  </a:lnTo>
                  <a:close/>
                  <a:moveTo>
                    <a:pt x="39" y="401"/>
                  </a:moveTo>
                  <a:lnTo>
                    <a:pt x="65" y="409"/>
                  </a:lnTo>
                  <a:lnTo>
                    <a:pt x="39" y="430"/>
                  </a:lnTo>
                  <a:lnTo>
                    <a:pt x="10" y="424"/>
                  </a:lnTo>
                  <a:lnTo>
                    <a:pt x="39" y="401"/>
                  </a:lnTo>
                  <a:close/>
                  <a:moveTo>
                    <a:pt x="1019" y="1201"/>
                  </a:moveTo>
                  <a:lnTo>
                    <a:pt x="1037" y="1227"/>
                  </a:lnTo>
                  <a:lnTo>
                    <a:pt x="1012" y="1214"/>
                  </a:lnTo>
                  <a:lnTo>
                    <a:pt x="1019" y="1201"/>
                  </a:lnTo>
                  <a:close/>
                  <a:moveTo>
                    <a:pt x="1254" y="1447"/>
                  </a:moveTo>
                  <a:lnTo>
                    <a:pt x="1254" y="1447"/>
                  </a:lnTo>
                  <a:lnTo>
                    <a:pt x="1280" y="1467"/>
                  </a:lnTo>
                  <a:lnTo>
                    <a:pt x="1309" y="1483"/>
                  </a:lnTo>
                  <a:lnTo>
                    <a:pt x="1335" y="1493"/>
                  </a:lnTo>
                  <a:lnTo>
                    <a:pt x="1306" y="1497"/>
                  </a:lnTo>
                  <a:lnTo>
                    <a:pt x="1254" y="1470"/>
                  </a:lnTo>
                  <a:lnTo>
                    <a:pt x="1254" y="1447"/>
                  </a:lnTo>
                  <a:close/>
                  <a:moveTo>
                    <a:pt x="1805" y="329"/>
                  </a:moveTo>
                  <a:lnTo>
                    <a:pt x="1826" y="355"/>
                  </a:lnTo>
                  <a:lnTo>
                    <a:pt x="1836" y="383"/>
                  </a:lnTo>
                  <a:lnTo>
                    <a:pt x="1810" y="399"/>
                  </a:lnTo>
                  <a:lnTo>
                    <a:pt x="1782" y="373"/>
                  </a:lnTo>
                  <a:lnTo>
                    <a:pt x="1777" y="347"/>
                  </a:lnTo>
                  <a:lnTo>
                    <a:pt x="1802" y="329"/>
                  </a:lnTo>
                  <a:lnTo>
                    <a:pt x="1805" y="329"/>
                  </a:lnTo>
                  <a:close/>
                  <a:moveTo>
                    <a:pt x="1577" y="616"/>
                  </a:moveTo>
                  <a:lnTo>
                    <a:pt x="1565" y="642"/>
                  </a:lnTo>
                  <a:lnTo>
                    <a:pt x="1562" y="668"/>
                  </a:lnTo>
                  <a:lnTo>
                    <a:pt x="1551" y="642"/>
                  </a:lnTo>
                  <a:lnTo>
                    <a:pt x="1567" y="616"/>
                  </a:lnTo>
                  <a:lnTo>
                    <a:pt x="1577" y="616"/>
                  </a:lnTo>
                  <a:close/>
                  <a:moveTo>
                    <a:pt x="1637" y="709"/>
                  </a:moveTo>
                  <a:lnTo>
                    <a:pt x="1632" y="735"/>
                  </a:lnTo>
                  <a:lnTo>
                    <a:pt x="1606" y="737"/>
                  </a:lnTo>
                  <a:lnTo>
                    <a:pt x="1616" y="709"/>
                  </a:lnTo>
                  <a:lnTo>
                    <a:pt x="1637" y="709"/>
                  </a:lnTo>
                  <a:close/>
                  <a:moveTo>
                    <a:pt x="1694" y="820"/>
                  </a:moveTo>
                  <a:lnTo>
                    <a:pt x="1694" y="846"/>
                  </a:lnTo>
                  <a:lnTo>
                    <a:pt x="1689" y="820"/>
                  </a:lnTo>
                  <a:lnTo>
                    <a:pt x="1694" y="82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0" name="Freeform 8"/>
            <p:cNvSpPr>
              <a:spLocks noEditPoints="1"/>
            </p:cNvSpPr>
            <p:nvPr/>
          </p:nvSpPr>
          <p:spPr bwMode="auto">
            <a:xfrm>
              <a:off x="8172653" y="2601289"/>
              <a:ext cx="1317630" cy="1767419"/>
            </a:xfrm>
            <a:custGeom>
              <a:avLst/>
              <a:gdLst>
                <a:gd name="T0" fmla="*/ 2147483647 w 2242"/>
                <a:gd name="T1" fmla="*/ 2147483647 h 3005"/>
                <a:gd name="T2" fmla="*/ 2147483647 w 2242"/>
                <a:gd name="T3" fmla="*/ 2147483647 h 3005"/>
                <a:gd name="T4" fmla="*/ 2147483647 w 2242"/>
                <a:gd name="T5" fmla="*/ 2147483647 h 3005"/>
                <a:gd name="T6" fmla="*/ 2147483647 w 2242"/>
                <a:gd name="T7" fmla="*/ 2147483647 h 3005"/>
                <a:gd name="T8" fmla="*/ 2147483647 w 2242"/>
                <a:gd name="T9" fmla="*/ 2147483647 h 3005"/>
                <a:gd name="T10" fmla="*/ 2147483647 w 2242"/>
                <a:gd name="T11" fmla="*/ 2147483647 h 3005"/>
                <a:gd name="T12" fmla="*/ 2147483647 w 2242"/>
                <a:gd name="T13" fmla="*/ 2147483647 h 3005"/>
                <a:gd name="T14" fmla="*/ 2147483647 w 2242"/>
                <a:gd name="T15" fmla="*/ 2147483647 h 3005"/>
                <a:gd name="T16" fmla="*/ 2147483647 w 2242"/>
                <a:gd name="T17" fmla="*/ 2147483647 h 3005"/>
                <a:gd name="T18" fmla="*/ 2147483647 w 2242"/>
                <a:gd name="T19" fmla="*/ 2147483647 h 3005"/>
                <a:gd name="T20" fmla="*/ 2147483647 w 2242"/>
                <a:gd name="T21" fmla="*/ 2147483647 h 3005"/>
                <a:gd name="T22" fmla="*/ 2147483647 w 2242"/>
                <a:gd name="T23" fmla="*/ 2147483647 h 3005"/>
                <a:gd name="T24" fmla="*/ 2147483647 w 2242"/>
                <a:gd name="T25" fmla="*/ 2147483647 h 3005"/>
                <a:gd name="T26" fmla="*/ 2147483647 w 2242"/>
                <a:gd name="T27" fmla="*/ 2147483647 h 3005"/>
                <a:gd name="T28" fmla="*/ 2147483647 w 2242"/>
                <a:gd name="T29" fmla="*/ 2147483647 h 3005"/>
                <a:gd name="T30" fmla="*/ 2147483647 w 2242"/>
                <a:gd name="T31" fmla="*/ 2147483647 h 3005"/>
                <a:gd name="T32" fmla="*/ 2147483647 w 2242"/>
                <a:gd name="T33" fmla="*/ 2147483647 h 3005"/>
                <a:gd name="T34" fmla="*/ 2147483647 w 2242"/>
                <a:gd name="T35" fmla="*/ 2147483647 h 3005"/>
                <a:gd name="T36" fmla="*/ 2147483647 w 2242"/>
                <a:gd name="T37" fmla="*/ 2147483647 h 3005"/>
                <a:gd name="T38" fmla="*/ 2147483647 w 2242"/>
                <a:gd name="T39" fmla="*/ 2147483647 h 3005"/>
                <a:gd name="T40" fmla="*/ 2147483647 w 2242"/>
                <a:gd name="T41" fmla="*/ 2147483647 h 3005"/>
                <a:gd name="T42" fmla="*/ 2147483647 w 2242"/>
                <a:gd name="T43" fmla="*/ 2147483647 h 3005"/>
                <a:gd name="T44" fmla="*/ 2147483647 w 2242"/>
                <a:gd name="T45" fmla="*/ 2147483647 h 3005"/>
                <a:gd name="T46" fmla="*/ 2147483647 w 2242"/>
                <a:gd name="T47" fmla="*/ 2147483647 h 3005"/>
                <a:gd name="T48" fmla="*/ 2147483647 w 2242"/>
                <a:gd name="T49" fmla="*/ 2147483647 h 3005"/>
                <a:gd name="T50" fmla="*/ 2147483647 w 2242"/>
                <a:gd name="T51" fmla="*/ 2147483647 h 3005"/>
                <a:gd name="T52" fmla="*/ 2147483647 w 2242"/>
                <a:gd name="T53" fmla="*/ 2147483647 h 3005"/>
                <a:gd name="T54" fmla="*/ 2147483647 w 2242"/>
                <a:gd name="T55" fmla="*/ 2147483647 h 3005"/>
                <a:gd name="T56" fmla="*/ 2147483647 w 2242"/>
                <a:gd name="T57" fmla="*/ 2147483647 h 3005"/>
                <a:gd name="T58" fmla="*/ 2147483647 w 2242"/>
                <a:gd name="T59" fmla="*/ 2147483647 h 3005"/>
                <a:gd name="T60" fmla="*/ 2147483647 w 2242"/>
                <a:gd name="T61" fmla="*/ 2147483647 h 3005"/>
                <a:gd name="T62" fmla="*/ 2147483647 w 2242"/>
                <a:gd name="T63" fmla="*/ 2147483647 h 3005"/>
                <a:gd name="T64" fmla="*/ 2147483647 w 2242"/>
                <a:gd name="T65" fmla="*/ 2147483647 h 3005"/>
                <a:gd name="T66" fmla="*/ 2147483647 w 2242"/>
                <a:gd name="T67" fmla="*/ 2147483647 h 3005"/>
                <a:gd name="T68" fmla="*/ 2147483647 w 2242"/>
                <a:gd name="T69" fmla="*/ 2147483647 h 3005"/>
                <a:gd name="T70" fmla="*/ 2147483647 w 2242"/>
                <a:gd name="T71" fmla="*/ 2147483647 h 3005"/>
                <a:gd name="T72" fmla="*/ 2147483647 w 2242"/>
                <a:gd name="T73" fmla="*/ 2147483647 h 3005"/>
                <a:gd name="T74" fmla="*/ 2147483647 w 2242"/>
                <a:gd name="T75" fmla="*/ 2147483647 h 3005"/>
                <a:gd name="T76" fmla="*/ 2147483647 w 2242"/>
                <a:gd name="T77" fmla="*/ 2147483647 h 3005"/>
                <a:gd name="T78" fmla="*/ 2147483647 w 2242"/>
                <a:gd name="T79" fmla="*/ 2147483647 h 3005"/>
                <a:gd name="T80" fmla="*/ 2147483647 w 2242"/>
                <a:gd name="T81" fmla="*/ 2147483647 h 3005"/>
                <a:gd name="T82" fmla="*/ 2147483647 w 2242"/>
                <a:gd name="T83" fmla="*/ 2147483647 h 3005"/>
                <a:gd name="T84" fmla="*/ 2147483647 w 2242"/>
                <a:gd name="T85" fmla="*/ 2147483647 h 3005"/>
                <a:gd name="T86" fmla="*/ 2147483647 w 2242"/>
                <a:gd name="T87" fmla="*/ 2147483647 h 3005"/>
                <a:gd name="T88" fmla="*/ 2147483647 w 2242"/>
                <a:gd name="T89" fmla="*/ 2147483647 h 3005"/>
                <a:gd name="T90" fmla="*/ 2147483647 w 2242"/>
                <a:gd name="T91" fmla="*/ 2147483647 h 3005"/>
                <a:gd name="T92" fmla="*/ 2147483647 w 2242"/>
                <a:gd name="T93" fmla="*/ 2147483647 h 3005"/>
                <a:gd name="T94" fmla="*/ 2147483647 w 2242"/>
                <a:gd name="T95" fmla="*/ 2147483647 h 3005"/>
                <a:gd name="T96" fmla="*/ 2147483647 w 2242"/>
                <a:gd name="T97" fmla="*/ 2147483647 h 3005"/>
                <a:gd name="T98" fmla="*/ 2147483647 w 2242"/>
                <a:gd name="T99" fmla="*/ 2147483647 h 3005"/>
                <a:gd name="T100" fmla="*/ 2147483647 w 2242"/>
                <a:gd name="T101" fmla="*/ 2147483647 h 3005"/>
                <a:gd name="T102" fmla="*/ 2147483647 w 2242"/>
                <a:gd name="T103" fmla="*/ 2147483647 h 3005"/>
                <a:gd name="T104" fmla="*/ 2147483647 w 2242"/>
                <a:gd name="T105" fmla="*/ 2147483647 h 3005"/>
                <a:gd name="T106" fmla="*/ 2147483647 w 2242"/>
                <a:gd name="T107" fmla="*/ 2147483647 h 3005"/>
                <a:gd name="T108" fmla="*/ 2147483647 w 2242"/>
                <a:gd name="T109" fmla="*/ 2147483647 h 3005"/>
                <a:gd name="T110" fmla="*/ 2147483647 w 2242"/>
                <a:gd name="T111" fmla="*/ 2147483647 h 3005"/>
                <a:gd name="T112" fmla="*/ 2147483647 w 2242"/>
                <a:gd name="T113" fmla="*/ 2147483647 h 300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42" h="3005">
                  <a:moveTo>
                    <a:pt x="1472" y="2661"/>
                  </a:moveTo>
                  <a:lnTo>
                    <a:pt x="1475" y="2689"/>
                  </a:lnTo>
                  <a:lnTo>
                    <a:pt x="1490" y="2716"/>
                  </a:lnTo>
                  <a:lnTo>
                    <a:pt x="1500" y="2744"/>
                  </a:lnTo>
                  <a:lnTo>
                    <a:pt x="1472" y="2746"/>
                  </a:lnTo>
                  <a:lnTo>
                    <a:pt x="1446" y="2744"/>
                  </a:lnTo>
                  <a:lnTo>
                    <a:pt x="1420" y="2739"/>
                  </a:lnTo>
                  <a:lnTo>
                    <a:pt x="1392" y="2736"/>
                  </a:lnTo>
                  <a:lnTo>
                    <a:pt x="1381" y="2710"/>
                  </a:lnTo>
                  <a:lnTo>
                    <a:pt x="1410" y="2689"/>
                  </a:lnTo>
                  <a:lnTo>
                    <a:pt x="1436" y="2663"/>
                  </a:lnTo>
                  <a:lnTo>
                    <a:pt x="1461" y="2656"/>
                  </a:lnTo>
                  <a:lnTo>
                    <a:pt x="1472" y="2661"/>
                  </a:lnTo>
                  <a:close/>
                  <a:moveTo>
                    <a:pt x="2242" y="3005"/>
                  </a:moveTo>
                  <a:lnTo>
                    <a:pt x="2240" y="689"/>
                  </a:lnTo>
                  <a:lnTo>
                    <a:pt x="2224" y="689"/>
                  </a:lnTo>
                  <a:lnTo>
                    <a:pt x="2198" y="691"/>
                  </a:lnTo>
                  <a:lnTo>
                    <a:pt x="2170" y="691"/>
                  </a:lnTo>
                  <a:lnTo>
                    <a:pt x="2144" y="675"/>
                  </a:lnTo>
                  <a:lnTo>
                    <a:pt x="2144" y="650"/>
                  </a:lnTo>
                  <a:lnTo>
                    <a:pt x="2118" y="639"/>
                  </a:lnTo>
                  <a:lnTo>
                    <a:pt x="2090" y="631"/>
                  </a:lnTo>
                  <a:lnTo>
                    <a:pt x="2064" y="629"/>
                  </a:lnTo>
                  <a:lnTo>
                    <a:pt x="2038" y="621"/>
                  </a:lnTo>
                  <a:lnTo>
                    <a:pt x="2009" y="634"/>
                  </a:lnTo>
                  <a:lnTo>
                    <a:pt x="1984" y="626"/>
                  </a:lnTo>
                  <a:lnTo>
                    <a:pt x="1958" y="615"/>
                  </a:lnTo>
                  <a:lnTo>
                    <a:pt x="1940" y="590"/>
                  </a:lnTo>
                  <a:lnTo>
                    <a:pt x="1914" y="601"/>
                  </a:lnTo>
                  <a:lnTo>
                    <a:pt x="1885" y="603"/>
                  </a:lnTo>
                  <a:lnTo>
                    <a:pt x="1873" y="603"/>
                  </a:lnTo>
                  <a:lnTo>
                    <a:pt x="1844" y="608"/>
                  </a:lnTo>
                  <a:lnTo>
                    <a:pt x="1818" y="606"/>
                  </a:lnTo>
                  <a:lnTo>
                    <a:pt x="1793" y="595"/>
                  </a:lnTo>
                  <a:lnTo>
                    <a:pt x="1767" y="578"/>
                  </a:lnTo>
                  <a:lnTo>
                    <a:pt x="1738" y="567"/>
                  </a:lnTo>
                  <a:lnTo>
                    <a:pt x="1710" y="557"/>
                  </a:lnTo>
                  <a:lnTo>
                    <a:pt x="1684" y="539"/>
                  </a:lnTo>
                  <a:lnTo>
                    <a:pt x="1657" y="525"/>
                  </a:lnTo>
                  <a:lnTo>
                    <a:pt x="1629" y="518"/>
                  </a:lnTo>
                  <a:lnTo>
                    <a:pt x="1627" y="514"/>
                  </a:lnTo>
                  <a:lnTo>
                    <a:pt x="1599" y="497"/>
                  </a:lnTo>
                  <a:lnTo>
                    <a:pt x="1572" y="486"/>
                  </a:lnTo>
                  <a:lnTo>
                    <a:pt x="1546" y="474"/>
                  </a:lnTo>
                  <a:lnTo>
                    <a:pt x="1518" y="463"/>
                  </a:lnTo>
                  <a:lnTo>
                    <a:pt x="1493" y="461"/>
                  </a:lnTo>
                  <a:lnTo>
                    <a:pt x="1464" y="445"/>
                  </a:lnTo>
                  <a:lnTo>
                    <a:pt x="1440" y="419"/>
                  </a:lnTo>
                  <a:lnTo>
                    <a:pt x="1415" y="403"/>
                  </a:lnTo>
                  <a:lnTo>
                    <a:pt x="1389" y="396"/>
                  </a:lnTo>
                  <a:lnTo>
                    <a:pt x="1360" y="388"/>
                  </a:lnTo>
                  <a:lnTo>
                    <a:pt x="1334" y="383"/>
                  </a:lnTo>
                  <a:lnTo>
                    <a:pt x="1309" y="375"/>
                  </a:lnTo>
                  <a:lnTo>
                    <a:pt x="1283" y="362"/>
                  </a:lnTo>
                  <a:lnTo>
                    <a:pt x="1254" y="350"/>
                  </a:lnTo>
                  <a:lnTo>
                    <a:pt x="1228" y="344"/>
                  </a:lnTo>
                  <a:lnTo>
                    <a:pt x="1203" y="336"/>
                  </a:lnTo>
                  <a:lnTo>
                    <a:pt x="1175" y="313"/>
                  </a:lnTo>
                  <a:lnTo>
                    <a:pt x="1148" y="292"/>
                  </a:lnTo>
                  <a:lnTo>
                    <a:pt x="1138" y="290"/>
                  </a:lnTo>
                  <a:lnTo>
                    <a:pt x="1110" y="295"/>
                  </a:lnTo>
                  <a:lnTo>
                    <a:pt x="1083" y="302"/>
                  </a:lnTo>
                  <a:lnTo>
                    <a:pt x="1055" y="313"/>
                  </a:lnTo>
                  <a:lnTo>
                    <a:pt x="1030" y="325"/>
                  </a:lnTo>
                  <a:lnTo>
                    <a:pt x="1001" y="344"/>
                  </a:lnTo>
                  <a:lnTo>
                    <a:pt x="975" y="357"/>
                  </a:lnTo>
                  <a:lnTo>
                    <a:pt x="949" y="373"/>
                  </a:lnTo>
                  <a:lnTo>
                    <a:pt x="921" y="385"/>
                  </a:lnTo>
                  <a:lnTo>
                    <a:pt x="895" y="394"/>
                  </a:lnTo>
                  <a:lnTo>
                    <a:pt x="869" y="412"/>
                  </a:lnTo>
                  <a:lnTo>
                    <a:pt x="871" y="440"/>
                  </a:lnTo>
                  <a:lnTo>
                    <a:pt x="900" y="458"/>
                  </a:lnTo>
                  <a:lnTo>
                    <a:pt x="900" y="470"/>
                  </a:lnTo>
                  <a:lnTo>
                    <a:pt x="910" y="497"/>
                  </a:lnTo>
                  <a:lnTo>
                    <a:pt x="885" y="512"/>
                  </a:lnTo>
                  <a:lnTo>
                    <a:pt x="859" y="514"/>
                  </a:lnTo>
                  <a:lnTo>
                    <a:pt x="832" y="520"/>
                  </a:lnTo>
                  <a:lnTo>
                    <a:pt x="804" y="536"/>
                  </a:lnTo>
                  <a:lnTo>
                    <a:pt x="779" y="546"/>
                  </a:lnTo>
                  <a:lnTo>
                    <a:pt x="751" y="559"/>
                  </a:lnTo>
                  <a:lnTo>
                    <a:pt x="724" y="562"/>
                  </a:lnTo>
                  <a:lnTo>
                    <a:pt x="696" y="564"/>
                  </a:lnTo>
                  <a:lnTo>
                    <a:pt x="670" y="559"/>
                  </a:lnTo>
                  <a:lnTo>
                    <a:pt x="641" y="551"/>
                  </a:lnTo>
                  <a:lnTo>
                    <a:pt x="615" y="557"/>
                  </a:lnTo>
                  <a:lnTo>
                    <a:pt x="595" y="582"/>
                  </a:lnTo>
                  <a:lnTo>
                    <a:pt x="595" y="608"/>
                  </a:lnTo>
                  <a:lnTo>
                    <a:pt x="576" y="636"/>
                  </a:lnTo>
                  <a:lnTo>
                    <a:pt x="574" y="665"/>
                  </a:lnTo>
                  <a:lnTo>
                    <a:pt x="553" y="691"/>
                  </a:lnTo>
                  <a:lnTo>
                    <a:pt x="525" y="704"/>
                  </a:lnTo>
                  <a:lnTo>
                    <a:pt x="500" y="717"/>
                  </a:lnTo>
                  <a:lnTo>
                    <a:pt x="484" y="725"/>
                  </a:lnTo>
                  <a:lnTo>
                    <a:pt x="461" y="751"/>
                  </a:lnTo>
                  <a:lnTo>
                    <a:pt x="458" y="776"/>
                  </a:lnTo>
                  <a:lnTo>
                    <a:pt x="456" y="802"/>
                  </a:lnTo>
                  <a:lnTo>
                    <a:pt x="437" y="828"/>
                  </a:lnTo>
                  <a:lnTo>
                    <a:pt x="412" y="844"/>
                  </a:lnTo>
                  <a:lnTo>
                    <a:pt x="385" y="857"/>
                  </a:lnTo>
                  <a:lnTo>
                    <a:pt x="375" y="885"/>
                  </a:lnTo>
                  <a:lnTo>
                    <a:pt x="362" y="887"/>
                  </a:lnTo>
                  <a:lnTo>
                    <a:pt x="334" y="901"/>
                  </a:lnTo>
                  <a:lnTo>
                    <a:pt x="323" y="926"/>
                  </a:lnTo>
                  <a:lnTo>
                    <a:pt x="297" y="955"/>
                  </a:lnTo>
                  <a:lnTo>
                    <a:pt x="269" y="958"/>
                  </a:lnTo>
                  <a:lnTo>
                    <a:pt x="244" y="968"/>
                  </a:lnTo>
                  <a:lnTo>
                    <a:pt x="228" y="960"/>
                  </a:lnTo>
                  <a:lnTo>
                    <a:pt x="202" y="960"/>
                  </a:lnTo>
                  <a:lnTo>
                    <a:pt x="173" y="958"/>
                  </a:lnTo>
                  <a:lnTo>
                    <a:pt x="147" y="947"/>
                  </a:lnTo>
                  <a:lnTo>
                    <a:pt x="119" y="945"/>
                  </a:lnTo>
                  <a:lnTo>
                    <a:pt x="104" y="919"/>
                  </a:lnTo>
                  <a:lnTo>
                    <a:pt x="76" y="903"/>
                  </a:lnTo>
                  <a:lnTo>
                    <a:pt x="60" y="877"/>
                  </a:lnTo>
                  <a:lnTo>
                    <a:pt x="62" y="848"/>
                  </a:lnTo>
                  <a:lnTo>
                    <a:pt x="70" y="820"/>
                  </a:lnTo>
                  <a:lnTo>
                    <a:pt x="67" y="792"/>
                  </a:lnTo>
                  <a:lnTo>
                    <a:pt x="44" y="820"/>
                  </a:lnTo>
                  <a:lnTo>
                    <a:pt x="16" y="815"/>
                  </a:lnTo>
                  <a:lnTo>
                    <a:pt x="14" y="807"/>
                  </a:lnTo>
                  <a:lnTo>
                    <a:pt x="12" y="818"/>
                  </a:lnTo>
                  <a:lnTo>
                    <a:pt x="9" y="835"/>
                  </a:lnTo>
                  <a:lnTo>
                    <a:pt x="5" y="858"/>
                  </a:lnTo>
                  <a:lnTo>
                    <a:pt x="3" y="885"/>
                  </a:lnTo>
                  <a:lnTo>
                    <a:pt x="2" y="900"/>
                  </a:lnTo>
                  <a:lnTo>
                    <a:pt x="2" y="916"/>
                  </a:lnTo>
                  <a:lnTo>
                    <a:pt x="3" y="932"/>
                  </a:lnTo>
                  <a:lnTo>
                    <a:pt x="4" y="949"/>
                  </a:lnTo>
                  <a:lnTo>
                    <a:pt x="5" y="967"/>
                  </a:lnTo>
                  <a:lnTo>
                    <a:pt x="9" y="985"/>
                  </a:lnTo>
                  <a:lnTo>
                    <a:pt x="13" y="1003"/>
                  </a:lnTo>
                  <a:lnTo>
                    <a:pt x="17" y="1021"/>
                  </a:lnTo>
                  <a:lnTo>
                    <a:pt x="23" y="1040"/>
                  </a:lnTo>
                  <a:lnTo>
                    <a:pt x="30" y="1057"/>
                  </a:lnTo>
                  <a:lnTo>
                    <a:pt x="36" y="1073"/>
                  </a:lnTo>
                  <a:lnTo>
                    <a:pt x="42" y="1087"/>
                  </a:lnTo>
                  <a:lnTo>
                    <a:pt x="56" y="1112"/>
                  </a:lnTo>
                  <a:lnTo>
                    <a:pt x="67" y="1132"/>
                  </a:lnTo>
                  <a:lnTo>
                    <a:pt x="86" y="1156"/>
                  </a:lnTo>
                  <a:lnTo>
                    <a:pt x="94" y="1163"/>
                  </a:lnTo>
                  <a:lnTo>
                    <a:pt x="89" y="1161"/>
                  </a:lnTo>
                  <a:lnTo>
                    <a:pt x="86" y="1161"/>
                  </a:lnTo>
                  <a:lnTo>
                    <a:pt x="78" y="1157"/>
                  </a:lnTo>
                  <a:lnTo>
                    <a:pt x="106" y="1170"/>
                  </a:lnTo>
                  <a:lnTo>
                    <a:pt x="78" y="1168"/>
                  </a:lnTo>
                  <a:lnTo>
                    <a:pt x="64" y="1165"/>
                  </a:lnTo>
                  <a:lnTo>
                    <a:pt x="36" y="1162"/>
                  </a:lnTo>
                  <a:lnTo>
                    <a:pt x="11" y="1173"/>
                  </a:lnTo>
                  <a:lnTo>
                    <a:pt x="16" y="1201"/>
                  </a:lnTo>
                  <a:lnTo>
                    <a:pt x="0" y="1227"/>
                  </a:lnTo>
                  <a:lnTo>
                    <a:pt x="25" y="1242"/>
                  </a:lnTo>
                  <a:lnTo>
                    <a:pt x="31" y="1256"/>
                  </a:lnTo>
                  <a:lnTo>
                    <a:pt x="60" y="1274"/>
                  </a:lnTo>
                  <a:lnTo>
                    <a:pt x="69" y="1274"/>
                  </a:lnTo>
                  <a:lnTo>
                    <a:pt x="98" y="1281"/>
                  </a:lnTo>
                  <a:lnTo>
                    <a:pt x="124" y="1302"/>
                  </a:lnTo>
                  <a:lnTo>
                    <a:pt x="152" y="1323"/>
                  </a:lnTo>
                  <a:lnTo>
                    <a:pt x="179" y="1336"/>
                  </a:lnTo>
                  <a:lnTo>
                    <a:pt x="204" y="1346"/>
                  </a:lnTo>
                  <a:lnTo>
                    <a:pt x="230" y="1341"/>
                  </a:lnTo>
                  <a:lnTo>
                    <a:pt x="258" y="1338"/>
                  </a:lnTo>
                  <a:lnTo>
                    <a:pt x="287" y="1341"/>
                  </a:lnTo>
                  <a:lnTo>
                    <a:pt x="313" y="1343"/>
                  </a:lnTo>
                  <a:lnTo>
                    <a:pt x="341" y="1348"/>
                  </a:lnTo>
                  <a:lnTo>
                    <a:pt x="362" y="1357"/>
                  </a:lnTo>
                  <a:lnTo>
                    <a:pt x="442" y="1357"/>
                  </a:lnTo>
                  <a:lnTo>
                    <a:pt x="468" y="1367"/>
                  </a:lnTo>
                  <a:lnTo>
                    <a:pt x="493" y="1390"/>
                  </a:lnTo>
                  <a:lnTo>
                    <a:pt x="523" y="1403"/>
                  </a:lnTo>
                  <a:lnTo>
                    <a:pt x="548" y="1416"/>
                  </a:lnTo>
                  <a:lnTo>
                    <a:pt x="574" y="1424"/>
                  </a:lnTo>
                  <a:lnTo>
                    <a:pt x="599" y="1421"/>
                  </a:lnTo>
                  <a:lnTo>
                    <a:pt x="629" y="1434"/>
                  </a:lnTo>
                  <a:lnTo>
                    <a:pt x="654" y="1449"/>
                  </a:lnTo>
                  <a:lnTo>
                    <a:pt x="680" y="1468"/>
                  </a:lnTo>
                  <a:lnTo>
                    <a:pt x="709" y="1479"/>
                  </a:lnTo>
                  <a:lnTo>
                    <a:pt x="735" y="1493"/>
                  </a:lnTo>
                  <a:lnTo>
                    <a:pt x="740" y="1496"/>
                  </a:lnTo>
                  <a:lnTo>
                    <a:pt x="758" y="1502"/>
                  </a:lnTo>
                  <a:lnTo>
                    <a:pt x="776" y="1509"/>
                  </a:lnTo>
                  <a:lnTo>
                    <a:pt x="797" y="1498"/>
                  </a:lnTo>
                  <a:lnTo>
                    <a:pt x="822" y="1517"/>
                  </a:lnTo>
                  <a:lnTo>
                    <a:pt x="850" y="1512"/>
                  </a:lnTo>
                  <a:lnTo>
                    <a:pt x="877" y="1523"/>
                  </a:lnTo>
                  <a:lnTo>
                    <a:pt x="903" y="1541"/>
                  </a:lnTo>
                  <a:lnTo>
                    <a:pt x="928" y="1514"/>
                  </a:lnTo>
                  <a:lnTo>
                    <a:pt x="942" y="1541"/>
                  </a:lnTo>
                  <a:lnTo>
                    <a:pt x="967" y="1566"/>
                  </a:lnTo>
                  <a:lnTo>
                    <a:pt x="993" y="1571"/>
                  </a:lnTo>
                  <a:lnTo>
                    <a:pt x="1004" y="1579"/>
                  </a:lnTo>
                  <a:lnTo>
                    <a:pt x="1029" y="1585"/>
                  </a:lnTo>
                  <a:lnTo>
                    <a:pt x="1053" y="1610"/>
                  </a:lnTo>
                  <a:lnTo>
                    <a:pt x="1078" y="1626"/>
                  </a:lnTo>
                  <a:lnTo>
                    <a:pt x="1106" y="1638"/>
                  </a:lnTo>
                  <a:lnTo>
                    <a:pt x="1117" y="1664"/>
                  </a:lnTo>
                  <a:lnTo>
                    <a:pt x="1145" y="1664"/>
                  </a:lnTo>
                  <a:lnTo>
                    <a:pt x="1166" y="1693"/>
                  </a:lnTo>
                  <a:lnTo>
                    <a:pt x="1192" y="1706"/>
                  </a:lnTo>
                  <a:lnTo>
                    <a:pt x="1203" y="1680"/>
                  </a:lnTo>
                  <a:lnTo>
                    <a:pt x="1205" y="1706"/>
                  </a:lnTo>
                  <a:lnTo>
                    <a:pt x="1212" y="1732"/>
                  </a:lnTo>
                  <a:lnTo>
                    <a:pt x="1200" y="1758"/>
                  </a:lnTo>
                  <a:lnTo>
                    <a:pt x="1203" y="1783"/>
                  </a:lnTo>
                  <a:lnTo>
                    <a:pt x="1212" y="1797"/>
                  </a:lnTo>
                  <a:lnTo>
                    <a:pt x="1226" y="1791"/>
                  </a:lnTo>
                  <a:lnTo>
                    <a:pt x="1254" y="1781"/>
                  </a:lnTo>
                  <a:lnTo>
                    <a:pt x="1280" y="1776"/>
                  </a:lnTo>
                  <a:lnTo>
                    <a:pt x="1306" y="1776"/>
                  </a:lnTo>
                  <a:lnTo>
                    <a:pt x="1295" y="1779"/>
                  </a:lnTo>
                  <a:lnTo>
                    <a:pt x="1267" y="1794"/>
                  </a:lnTo>
                  <a:lnTo>
                    <a:pt x="1241" y="1820"/>
                  </a:lnTo>
                  <a:lnTo>
                    <a:pt x="1270" y="1830"/>
                  </a:lnTo>
                  <a:lnTo>
                    <a:pt x="1295" y="1838"/>
                  </a:lnTo>
                  <a:lnTo>
                    <a:pt x="1322" y="1832"/>
                  </a:lnTo>
                  <a:lnTo>
                    <a:pt x="1298" y="1843"/>
                  </a:lnTo>
                  <a:lnTo>
                    <a:pt x="1272" y="1864"/>
                  </a:lnTo>
                  <a:lnTo>
                    <a:pt x="1290" y="1890"/>
                  </a:lnTo>
                  <a:lnTo>
                    <a:pt x="1304" y="1919"/>
                  </a:lnTo>
                  <a:lnTo>
                    <a:pt x="1313" y="1944"/>
                  </a:lnTo>
                  <a:lnTo>
                    <a:pt x="1318" y="1970"/>
                  </a:lnTo>
                  <a:lnTo>
                    <a:pt x="1327" y="1998"/>
                  </a:lnTo>
                  <a:lnTo>
                    <a:pt x="1339" y="2027"/>
                  </a:lnTo>
                  <a:lnTo>
                    <a:pt x="1366" y="2053"/>
                  </a:lnTo>
                  <a:lnTo>
                    <a:pt x="1391" y="2076"/>
                  </a:lnTo>
                  <a:lnTo>
                    <a:pt x="1417" y="2102"/>
                  </a:lnTo>
                  <a:lnTo>
                    <a:pt x="1445" y="2122"/>
                  </a:lnTo>
                  <a:lnTo>
                    <a:pt x="1472" y="2141"/>
                  </a:lnTo>
                  <a:lnTo>
                    <a:pt x="1443" y="2128"/>
                  </a:lnTo>
                  <a:lnTo>
                    <a:pt x="1417" y="2125"/>
                  </a:lnTo>
                  <a:lnTo>
                    <a:pt x="1438" y="2154"/>
                  </a:lnTo>
                  <a:lnTo>
                    <a:pt x="1463" y="2172"/>
                  </a:lnTo>
                  <a:lnTo>
                    <a:pt x="1492" y="2182"/>
                  </a:lnTo>
                  <a:lnTo>
                    <a:pt x="1518" y="2187"/>
                  </a:lnTo>
                  <a:lnTo>
                    <a:pt x="1546" y="2203"/>
                  </a:lnTo>
                  <a:lnTo>
                    <a:pt x="1572" y="2226"/>
                  </a:lnTo>
                  <a:lnTo>
                    <a:pt x="1599" y="2237"/>
                  </a:lnTo>
                  <a:lnTo>
                    <a:pt x="1593" y="2237"/>
                  </a:lnTo>
                  <a:lnTo>
                    <a:pt x="1567" y="2232"/>
                  </a:lnTo>
                  <a:lnTo>
                    <a:pt x="1539" y="2211"/>
                  </a:lnTo>
                  <a:lnTo>
                    <a:pt x="1513" y="2193"/>
                  </a:lnTo>
                  <a:lnTo>
                    <a:pt x="1484" y="2195"/>
                  </a:lnTo>
                  <a:lnTo>
                    <a:pt x="1458" y="2195"/>
                  </a:lnTo>
                  <a:lnTo>
                    <a:pt x="1433" y="2208"/>
                  </a:lnTo>
                  <a:lnTo>
                    <a:pt x="1405" y="2200"/>
                  </a:lnTo>
                  <a:lnTo>
                    <a:pt x="1378" y="2216"/>
                  </a:lnTo>
                  <a:lnTo>
                    <a:pt x="1405" y="2242"/>
                  </a:lnTo>
                  <a:lnTo>
                    <a:pt x="1430" y="2270"/>
                  </a:lnTo>
                  <a:lnTo>
                    <a:pt x="1456" y="2288"/>
                  </a:lnTo>
                  <a:lnTo>
                    <a:pt x="1484" y="2299"/>
                  </a:lnTo>
                  <a:lnTo>
                    <a:pt x="1513" y="2302"/>
                  </a:lnTo>
                  <a:lnTo>
                    <a:pt x="1539" y="2314"/>
                  </a:lnTo>
                  <a:lnTo>
                    <a:pt x="1564" y="2320"/>
                  </a:lnTo>
                  <a:lnTo>
                    <a:pt x="1590" y="2317"/>
                  </a:lnTo>
                  <a:lnTo>
                    <a:pt x="1617" y="2299"/>
                  </a:lnTo>
                  <a:lnTo>
                    <a:pt x="1606" y="2306"/>
                  </a:lnTo>
                  <a:lnTo>
                    <a:pt x="1580" y="2330"/>
                  </a:lnTo>
                  <a:lnTo>
                    <a:pt x="1551" y="2335"/>
                  </a:lnTo>
                  <a:lnTo>
                    <a:pt x="1526" y="2325"/>
                  </a:lnTo>
                  <a:lnTo>
                    <a:pt x="1500" y="2317"/>
                  </a:lnTo>
                  <a:lnTo>
                    <a:pt x="1472" y="2317"/>
                  </a:lnTo>
                  <a:lnTo>
                    <a:pt x="1443" y="2314"/>
                  </a:lnTo>
                  <a:lnTo>
                    <a:pt x="1417" y="2325"/>
                  </a:lnTo>
                  <a:lnTo>
                    <a:pt x="1443" y="2335"/>
                  </a:lnTo>
                  <a:lnTo>
                    <a:pt x="1463" y="2350"/>
                  </a:lnTo>
                  <a:lnTo>
                    <a:pt x="1490" y="2371"/>
                  </a:lnTo>
                  <a:lnTo>
                    <a:pt x="1505" y="2397"/>
                  </a:lnTo>
                  <a:lnTo>
                    <a:pt x="1513" y="2423"/>
                  </a:lnTo>
                  <a:lnTo>
                    <a:pt x="1541" y="2428"/>
                  </a:lnTo>
                  <a:lnTo>
                    <a:pt x="1567" y="2452"/>
                  </a:lnTo>
                  <a:lnTo>
                    <a:pt x="1549" y="2477"/>
                  </a:lnTo>
                  <a:lnTo>
                    <a:pt x="1541" y="2503"/>
                  </a:lnTo>
                  <a:lnTo>
                    <a:pt x="1536" y="2530"/>
                  </a:lnTo>
                  <a:lnTo>
                    <a:pt x="1528" y="2555"/>
                  </a:lnTo>
                  <a:lnTo>
                    <a:pt x="1500" y="2576"/>
                  </a:lnTo>
                  <a:lnTo>
                    <a:pt x="1500" y="2604"/>
                  </a:lnTo>
                  <a:lnTo>
                    <a:pt x="1502" y="2633"/>
                  </a:lnTo>
                  <a:lnTo>
                    <a:pt x="1477" y="2656"/>
                  </a:lnTo>
                  <a:lnTo>
                    <a:pt x="1490" y="2682"/>
                  </a:lnTo>
                  <a:lnTo>
                    <a:pt x="1518" y="2698"/>
                  </a:lnTo>
                  <a:lnTo>
                    <a:pt x="1536" y="2672"/>
                  </a:lnTo>
                  <a:lnTo>
                    <a:pt x="1564" y="2648"/>
                  </a:lnTo>
                  <a:lnTo>
                    <a:pt x="1590" y="2640"/>
                  </a:lnTo>
                  <a:lnTo>
                    <a:pt x="1613" y="2615"/>
                  </a:lnTo>
                  <a:lnTo>
                    <a:pt x="1622" y="2586"/>
                  </a:lnTo>
                  <a:lnTo>
                    <a:pt x="1619" y="2612"/>
                  </a:lnTo>
                  <a:lnTo>
                    <a:pt x="1617" y="2640"/>
                  </a:lnTo>
                  <a:lnTo>
                    <a:pt x="1642" y="2669"/>
                  </a:lnTo>
                  <a:lnTo>
                    <a:pt x="1670" y="2675"/>
                  </a:lnTo>
                  <a:lnTo>
                    <a:pt x="1696" y="2669"/>
                  </a:lnTo>
                  <a:lnTo>
                    <a:pt x="1725" y="2661"/>
                  </a:lnTo>
                  <a:lnTo>
                    <a:pt x="1751" y="2645"/>
                  </a:lnTo>
                  <a:lnTo>
                    <a:pt x="1779" y="2643"/>
                  </a:lnTo>
                  <a:lnTo>
                    <a:pt x="1805" y="2640"/>
                  </a:lnTo>
                  <a:lnTo>
                    <a:pt x="1859" y="2640"/>
                  </a:lnTo>
                  <a:lnTo>
                    <a:pt x="1885" y="2631"/>
                  </a:lnTo>
                  <a:lnTo>
                    <a:pt x="1896" y="2625"/>
                  </a:lnTo>
                  <a:lnTo>
                    <a:pt x="1898" y="2599"/>
                  </a:lnTo>
                  <a:lnTo>
                    <a:pt x="1906" y="2573"/>
                  </a:lnTo>
                  <a:lnTo>
                    <a:pt x="1935" y="2578"/>
                  </a:lnTo>
                  <a:lnTo>
                    <a:pt x="1906" y="2583"/>
                  </a:lnTo>
                  <a:lnTo>
                    <a:pt x="1908" y="2610"/>
                  </a:lnTo>
                  <a:lnTo>
                    <a:pt x="1885" y="2638"/>
                  </a:lnTo>
                  <a:lnTo>
                    <a:pt x="1873" y="2648"/>
                  </a:lnTo>
                  <a:lnTo>
                    <a:pt x="1885" y="2677"/>
                  </a:lnTo>
                  <a:lnTo>
                    <a:pt x="1887" y="2679"/>
                  </a:lnTo>
                  <a:lnTo>
                    <a:pt x="1914" y="2705"/>
                  </a:lnTo>
                  <a:lnTo>
                    <a:pt x="1942" y="2726"/>
                  </a:lnTo>
                  <a:lnTo>
                    <a:pt x="1968" y="2744"/>
                  </a:lnTo>
                  <a:lnTo>
                    <a:pt x="1989" y="2765"/>
                  </a:lnTo>
                  <a:lnTo>
                    <a:pt x="2014" y="2781"/>
                  </a:lnTo>
                  <a:lnTo>
                    <a:pt x="2027" y="2795"/>
                  </a:lnTo>
                  <a:lnTo>
                    <a:pt x="2053" y="2816"/>
                  </a:lnTo>
                  <a:lnTo>
                    <a:pt x="2071" y="2845"/>
                  </a:lnTo>
                  <a:lnTo>
                    <a:pt x="2092" y="2871"/>
                  </a:lnTo>
                  <a:lnTo>
                    <a:pt x="2110" y="2897"/>
                  </a:lnTo>
                  <a:lnTo>
                    <a:pt x="2138" y="2926"/>
                  </a:lnTo>
                  <a:lnTo>
                    <a:pt x="2164" y="2951"/>
                  </a:lnTo>
                  <a:lnTo>
                    <a:pt x="2188" y="2977"/>
                  </a:lnTo>
                  <a:lnTo>
                    <a:pt x="2214" y="2988"/>
                  </a:lnTo>
                  <a:lnTo>
                    <a:pt x="2239" y="3003"/>
                  </a:lnTo>
                  <a:lnTo>
                    <a:pt x="2242" y="3005"/>
                  </a:lnTo>
                  <a:close/>
                  <a:moveTo>
                    <a:pt x="169" y="292"/>
                  </a:moveTo>
                  <a:lnTo>
                    <a:pt x="194" y="290"/>
                  </a:lnTo>
                  <a:lnTo>
                    <a:pt x="223" y="292"/>
                  </a:lnTo>
                  <a:lnTo>
                    <a:pt x="197" y="308"/>
                  </a:lnTo>
                  <a:lnTo>
                    <a:pt x="169" y="308"/>
                  </a:lnTo>
                  <a:lnTo>
                    <a:pt x="169" y="292"/>
                  </a:lnTo>
                  <a:close/>
                  <a:moveTo>
                    <a:pt x="303" y="334"/>
                  </a:moveTo>
                  <a:lnTo>
                    <a:pt x="275" y="336"/>
                  </a:lnTo>
                  <a:lnTo>
                    <a:pt x="293" y="362"/>
                  </a:lnTo>
                  <a:lnTo>
                    <a:pt x="321" y="362"/>
                  </a:lnTo>
                  <a:lnTo>
                    <a:pt x="348" y="370"/>
                  </a:lnTo>
                  <a:lnTo>
                    <a:pt x="378" y="370"/>
                  </a:lnTo>
                  <a:lnTo>
                    <a:pt x="404" y="380"/>
                  </a:lnTo>
                  <a:lnTo>
                    <a:pt x="433" y="388"/>
                  </a:lnTo>
                  <a:lnTo>
                    <a:pt x="459" y="401"/>
                  </a:lnTo>
                  <a:lnTo>
                    <a:pt x="487" y="412"/>
                  </a:lnTo>
                  <a:lnTo>
                    <a:pt x="512" y="419"/>
                  </a:lnTo>
                  <a:lnTo>
                    <a:pt x="541" y="424"/>
                  </a:lnTo>
                  <a:lnTo>
                    <a:pt x="567" y="437"/>
                  </a:lnTo>
                  <a:lnTo>
                    <a:pt x="595" y="427"/>
                  </a:lnTo>
                  <a:lnTo>
                    <a:pt x="621" y="435"/>
                  </a:lnTo>
                  <a:lnTo>
                    <a:pt x="650" y="437"/>
                  </a:lnTo>
                  <a:lnTo>
                    <a:pt x="678" y="432"/>
                  </a:lnTo>
                  <a:lnTo>
                    <a:pt x="704" y="432"/>
                  </a:lnTo>
                  <a:lnTo>
                    <a:pt x="730" y="419"/>
                  </a:lnTo>
                  <a:lnTo>
                    <a:pt x="756" y="412"/>
                  </a:lnTo>
                  <a:lnTo>
                    <a:pt x="782" y="414"/>
                  </a:lnTo>
                  <a:lnTo>
                    <a:pt x="763" y="388"/>
                  </a:lnTo>
                  <a:lnTo>
                    <a:pt x="735" y="383"/>
                  </a:lnTo>
                  <a:lnTo>
                    <a:pt x="707" y="383"/>
                  </a:lnTo>
                  <a:lnTo>
                    <a:pt x="681" y="378"/>
                  </a:lnTo>
                  <a:lnTo>
                    <a:pt x="627" y="378"/>
                  </a:lnTo>
                  <a:lnTo>
                    <a:pt x="598" y="375"/>
                  </a:lnTo>
                  <a:lnTo>
                    <a:pt x="572" y="364"/>
                  </a:lnTo>
                  <a:lnTo>
                    <a:pt x="544" y="354"/>
                  </a:lnTo>
                  <a:lnTo>
                    <a:pt x="518" y="352"/>
                  </a:lnTo>
                  <a:lnTo>
                    <a:pt x="489" y="352"/>
                  </a:lnTo>
                  <a:lnTo>
                    <a:pt x="464" y="346"/>
                  </a:lnTo>
                  <a:lnTo>
                    <a:pt x="438" y="350"/>
                  </a:lnTo>
                  <a:lnTo>
                    <a:pt x="409" y="346"/>
                  </a:lnTo>
                  <a:lnTo>
                    <a:pt x="381" y="344"/>
                  </a:lnTo>
                  <a:lnTo>
                    <a:pt x="355" y="341"/>
                  </a:lnTo>
                  <a:lnTo>
                    <a:pt x="329" y="336"/>
                  </a:lnTo>
                  <a:lnTo>
                    <a:pt x="303" y="334"/>
                  </a:lnTo>
                  <a:close/>
                  <a:moveTo>
                    <a:pt x="396" y="34"/>
                  </a:moveTo>
                  <a:lnTo>
                    <a:pt x="378" y="62"/>
                  </a:lnTo>
                  <a:lnTo>
                    <a:pt x="399" y="88"/>
                  </a:lnTo>
                  <a:lnTo>
                    <a:pt x="406" y="119"/>
                  </a:lnTo>
                  <a:lnTo>
                    <a:pt x="420" y="147"/>
                  </a:lnTo>
                  <a:lnTo>
                    <a:pt x="415" y="175"/>
                  </a:lnTo>
                  <a:lnTo>
                    <a:pt x="443" y="196"/>
                  </a:lnTo>
                  <a:lnTo>
                    <a:pt x="471" y="184"/>
                  </a:lnTo>
                  <a:lnTo>
                    <a:pt x="500" y="196"/>
                  </a:lnTo>
                  <a:lnTo>
                    <a:pt x="526" y="202"/>
                  </a:lnTo>
                  <a:lnTo>
                    <a:pt x="554" y="191"/>
                  </a:lnTo>
                  <a:lnTo>
                    <a:pt x="580" y="186"/>
                  </a:lnTo>
                  <a:lnTo>
                    <a:pt x="608" y="166"/>
                  </a:lnTo>
                  <a:lnTo>
                    <a:pt x="580" y="152"/>
                  </a:lnTo>
                  <a:lnTo>
                    <a:pt x="551" y="145"/>
                  </a:lnTo>
                  <a:lnTo>
                    <a:pt x="523" y="124"/>
                  </a:lnTo>
                  <a:lnTo>
                    <a:pt x="505" y="95"/>
                  </a:lnTo>
                  <a:lnTo>
                    <a:pt x="482" y="69"/>
                  </a:lnTo>
                  <a:lnTo>
                    <a:pt x="456" y="55"/>
                  </a:lnTo>
                  <a:lnTo>
                    <a:pt x="438" y="28"/>
                  </a:lnTo>
                  <a:lnTo>
                    <a:pt x="412" y="20"/>
                  </a:lnTo>
                  <a:lnTo>
                    <a:pt x="396" y="34"/>
                  </a:lnTo>
                  <a:close/>
                  <a:moveTo>
                    <a:pt x="371" y="64"/>
                  </a:moveTo>
                  <a:lnTo>
                    <a:pt x="344" y="78"/>
                  </a:lnTo>
                  <a:lnTo>
                    <a:pt x="319" y="55"/>
                  </a:lnTo>
                  <a:lnTo>
                    <a:pt x="293" y="44"/>
                  </a:lnTo>
                  <a:lnTo>
                    <a:pt x="267" y="30"/>
                  </a:lnTo>
                  <a:lnTo>
                    <a:pt x="254" y="5"/>
                  </a:lnTo>
                  <a:lnTo>
                    <a:pt x="280" y="0"/>
                  </a:lnTo>
                  <a:lnTo>
                    <a:pt x="309" y="7"/>
                  </a:lnTo>
                  <a:lnTo>
                    <a:pt x="334" y="10"/>
                  </a:lnTo>
                  <a:lnTo>
                    <a:pt x="360" y="13"/>
                  </a:lnTo>
                  <a:lnTo>
                    <a:pt x="388" y="28"/>
                  </a:lnTo>
                  <a:lnTo>
                    <a:pt x="376" y="55"/>
                  </a:lnTo>
                  <a:lnTo>
                    <a:pt x="371" y="64"/>
                  </a:lnTo>
                  <a:close/>
                  <a:moveTo>
                    <a:pt x="1379" y="2379"/>
                  </a:moveTo>
                  <a:lnTo>
                    <a:pt x="1392" y="2376"/>
                  </a:lnTo>
                  <a:lnTo>
                    <a:pt x="1417" y="2373"/>
                  </a:lnTo>
                  <a:lnTo>
                    <a:pt x="1446" y="2376"/>
                  </a:lnTo>
                  <a:lnTo>
                    <a:pt x="1472" y="2389"/>
                  </a:lnTo>
                  <a:lnTo>
                    <a:pt x="1490" y="2415"/>
                  </a:lnTo>
                  <a:lnTo>
                    <a:pt x="1516" y="2440"/>
                  </a:lnTo>
                  <a:lnTo>
                    <a:pt x="1544" y="2444"/>
                  </a:lnTo>
                  <a:lnTo>
                    <a:pt x="1544" y="2469"/>
                  </a:lnTo>
                  <a:lnTo>
                    <a:pt x="1534" y="2497"/>
                  </a:lnTo>
                  <a:lnTo>
                    <a:pt x="1526" y="2523"/>
                  </a:lnTo>
                  <a:lnTo>
                    <a:pt x="1519" y="2550"/>
                  </a:lnTo>
                  <a:lnTo>
                    <a:pt x="1493" y="2575"/>
                  </a:lnTo>
                  <a:lnTo>
                    <a:pt x="1493" y="2604"/>
                  </a:lnTo>
                  <a:lnTo>
                    <a:pt x="1472" y="2630"/>
                  </a:lnTo>
                  <a:lnTo>
                    <a:pt x="1446" y="2656"/>
                  </a:lnTo>
                  <a:lnTo>
                    <a:pt x="1417" y="2658"/>
                  </a:lnTo>
                  <a:lnTo>
                    <a:pt x="1402" y="2684"/>
                  </a:lnTo>
                  <a:lnTo>
                    <a:pt x="1374" y="2705"/>
                  </a:lnTo>
                  <a:lnTo>
                    <a:pt x="1348" y="2730"/>
                  </a:lnTo>
                  <a:lnTo>
                    <a:pt x="1322" y="2744"/>
                  </a:lnTo>
                  <a:lnTo>
                    <a:pt x="1293" y="2751"/>
                  </a:lnTo>
                  <a:lnTo>
                    <a:pt x="1268" y="2744"/>
                  </a:lnTo>
                  <a:lnTo>
                    <a:pt x="1242" y="2741"/>
                  </a:lnTo>
                  <a:lnTo>
                    <a:pt x="1213" y="2741"/>
                  </a:lnTo>
                  <a:lnTo>
                    <a:pt x="1187" y="2739"/>
                  </a:lnTo>
                  <a:lnTo>
                    <a:pt x="1159" y="2736"/>
                  </a:lnTo>
                  <a:lnTo>
                    <a:pt x="1133" y="2733"/>
                  </a:lnTo>
                  <a:lnTo>
                    <a:pt x="1107" y="2739"/>
                  </a:lnTo>
                  <a:lnTo>
                    <a:pt x="1079" y="2746"/>
                  </a:lnTo>
                  <a:lnTo>
                    <a:pt x="1053" y="2751"/>
                  </a:lnTo>
                  <a:lnTo>
                    <a:pt x="1058" y="2725"/>
                  </a:lnTo>
                  <a:lnTo>
                    <a:pt x="1069" y="2697"/>
                  </a:lnTo>
                  <a:lnTo>
                    <a:pt x="1076" y="2672"/>
                  </a:lnTo>
                  <a:lnTo>
                    <a:pt x="1090" y="2643"/>
                  </a:lnTo>
                  <a:lnTo>
                    <a:pt x="1110" y="2617"/>
                  </a:lnTo>
                  <a:lnTo>
                    <a:pt x="1118" y="2591"/>
                  </a:lnTo>
                  <a:lnTo>
                    <a:pt x="1127" y="2565"/>
                  </a:lnTo>
                  <a:lnTo>
                    <a:pt x="1141" y="2539"/>
                  </a:lnTo>
                  <a:lnTo>
                    <a:pt x="1141" y="2537"/>
                  </a:lnTo>
                  <a:lnTo>
                    <a:pt x="1143" y="2537"/>
                  </a:lnTo>
                  <a:lnTo>
                    <a:pt x="1146" y="2532"/>
                  </a:lnTo>
                  <a:lnTo>
                    <a:pt x="1159" y="2516"/>
                  </a:lnTo>
                  <a:lnTo>
                    <a:pt x="1177" y="2488"/>
                  </a:lnTo>
                  <a:lnTo>
                    <a:pt x="1192" y="2461"/>
                  </a:lnTo>
                  <a:lnTo>
                    <a:pt x="1219" y="2438"/>
                  </a:lnTo>
                  <a:lnTo>
                    <a:pt x="1244" y="2423"/>
                  </a:lnTo>
                  <a:lnTo>
                    <a:pt x="1270" y="2407"/>
                  </a:lnTo>
                  <a:lnTo>
                    <a:pt x="1298" y="2396"/>
                  </a:lnTo>
                  <a:lnTo>
                    <a:pt x="1325" y="2389"/>
                  </a:lnTo>
                  <a:lnTo>
                    <a:pt x="1353" y="2387"/>
                  </a:lnTo>
                  <a:lnTo>
                    <a:pt x="1379" y="2379"/>
                  </a:lnTo>
                  <a:close/>
                  <a:moveTo>
                    <a:pt x="1405" y="2149"/>
                  </a:moveTo>
                  <a:lnTo>
                    <a:pt x="1431" y="2161"/>
                  </a:lnTo>
                  <a:lnTo>
                    <a:pt x="1456" y="2182"/>
                  </a:lnTo>
                  <a:lnTo>
                    <a:pt x="1431" y="2198"/>
                  </a:lnTo>
                  <a:lnTo>
                    <a:pt x="1410" y="2172"/>
                  </a:lnTo>
                  <a:lnTo>
                    <a:pt x="1405" y="2149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1" name="Freeform 9"/>
            <p:cNvSpPr>
              <a:spLocks noEditPoints="1"/>
            </p:cNvSpPr>
            <p:nvPr/>
          </p:nvSpPr>
          <p:spPr bwMode="auto">
            <a:xfrm>
              <a:off x="6281758" y="3044026"/>
              <a:ext cx="1940284" cy="1160641"/>
            </a:xfrm>
            <a:custGeom>
              <a:avLst/>
              <a:gdLst>
                <a:gd name="T0" fmla="*/ 2147483647 w 3299"/>
                <a:gd name="T1" fmla="*/ 2147483647 h 1975"/>
                <a:gd name="T2" fmla="*/ 2147483647 w 3299"/>
                <a:gd name="T3" fmla="*/ 2147483647 h 1975"/>
                <a:gd name="T4" fmla="*/ 2147483647 w 3299"/>
                <a:gd name="T5" fmla="*/ 2147483647 h 1975"/>
                <a:gd name="T6" fmla="*/ 2147483647 w 3299"/>
                <a:gd name="T7" fmla="*/ 2147483647 h 1975"/>
                <a:gd name="T8" fmla="*/ 2147483647 w 3299"/>
                <a:gd name="T9" fmla="*/ 2147483647 h 1975"/>
                <a:gd name="T10" fmla="*/ 2147483647 w 3299"/>
                <a:gd name="T11" fmla="*/ 2147483647 h 1975"/>
                <a:gd name="T12" fmla="*/ 2147483647 w 3299"/>
                <a:gd name="T13" fmla="*/ 2147483647 h 1975"/>
                <a:gd name="T14" fmla="*/ 2147483647 w 3299"/>
                <a:gd name="T15" fmla="*/ 2147483647 h 1975"/>
                <a:gd name="T16" fmla="*/ 2147483647 w 3299"/>
                <a:gd name="T17" fmla="*/ 2147483647 h 1975"/>
                <a:gd name="T18" fmla="*/ 2147483647 w 3299"/>
                <a:gd name="T19" fmla="*/ 2147483647 h 1975"/>
                <a:gd name="T20" fmla="*/ 2147483647 w 3299"/>
                <a:gd name="T21" fmla="*/ 2147483647 h 1975"/>
                <a:gd name="T22" fmla="*/ 2147483647 w 3299"/>
                <a:gd name="T23" fmla="*/ 2147483647 h 1975"/>
                <a:gd name="T24" fmla="*/ 2147483647 w 3299"/>
                <a:gd name="T25" fmla="*/ 2147483647 h 1975"/>
                <a:gd name="T26" fmla="*/ 2147483647 w 3299"/>
                <a:gd name="T27" fmla="*/ 2147483647 h 1975"/>
                <a:gd name="T28" fmla="*/ 2147483647 w 3299"/>
                <a:gd name="T29" fmla="*/ 2147483647 h 1975"/>
                <a:gd name="T30" fmla="*/ 2147483647 w 3299"/>
                <a:gd name="T31" fmla="*/ 2147483647 h 1975"/>
                <a:gd name="T32" fmla="*/ 2147483647 w 3299"/>
                <a:gd name="T33" fmla="*/ 2147483647 h 1975"/>
                <a:gd name="T34" fmla="*/ 2147483647 w 3299"/>
                <a:gd name="T35" fmla="*/ 2147483647 h 1975"/>
                <a:gd name="T36" fmla="*/ 2147483647 w 3299"/>
                <a:gd name="T37" fmla="*/ 2147483647 h 1975"/>
                <a:gd name="T38" fmla="*/ 2147483647 w 3299"/>
                <a:gd name="T39" fmla="*/ 2147483647 h 1975"/>
                <a:gd name="T40" fmla="*/ 2147483647 w 3299"/>
                <a:gd name="T41" fmla="*/ 2147483647 h 1975"/>
                <a:gd name="T42" fmla="*/ 2147483647 w 3299"/>
                <a:gd name="T43" fmla="*/ 2147483647 h 1975"/>
                <a:gd name="T44" fmla="*/ 2147483647 w 3299"/>
                <a:gd name="T45" fmla="*/ 2147483647 h 1975"/>
                <a:gd name="T46" fmla="*/ 2147483647 w 3299"/>
                <a:gd name="T47" fmla="*/ 2147483647 h 1975"/>
                <a:gd name="T48" fmla="*/ 2147483647 w 3299"/>
                <a:gd name="T49" fmla="*/ 2147483647 h 1975"/>
                <a:gd name="T50" fmla="*/ 2147483647 w 3299"/>
                <a:gd name="T51" fmla="*/ 2147483647 h 1975"/>
                <a:gd name="T52" fmla="*/ 2147483647 w 3299"/>
                <a:gd name="T53" fmla="*/ 2147483647 h 1975"/>
                <a:gd name="T54" fmla="*/ 2147483647 w 3299"/>
                <a:gd name="T55" fmla="*/ 2147483647 h 1975"/>
                <a:gd name="T56" fmla="*/ 2147483647 w 3299"/>
                <a:gd name="T57" fmla="*/ 2147483647 h 1975"/>
                <a:gd name="T58" fmla="*/ 2147483647 w 3299"/>
                <a:gd name="T59" fmla="*/ 2147483647 h 1975"/>
                <a:gd name="T60" fmla="*/ 2147483647 w 3299"/>
                <a:gd name="T61" fmla="*/ 2147483647 h 1975"/>
                <a:gd name="T62" fmla="*/ 2147483647 w 3299"/>
                <a:gd name="T63" fmla="*/ 2147483647 h 1975"/>
                <a:gd name="T64" fmla="*/ 2147483647 w 3299"/>
                <a:gd name="T65" fmla="*/ 2147483647 h 1975"/>
                <a:gd name="T66" fmla="*/ 2147483647 w 3299"/>
                <a:gd name="T67" fmla="*/ 2147483647 h 1975"/>
                <a:gd name="T68" fmla="*/ 2147483647 w 3299"/>
                <a:gd name="T69" fmla="*/ 2147483647 h 1975"/>
                <a:gd name="T70" fmla="*/ 2147483647 w 3299"/>
                <a:gd name="T71" fmla="*/ 2147483647 h 1975"/>
                <a:gd name="T72" fmla="*/ 2147483647 w 3299"/>
                <a:gd name="T73" fmla="*/ 2147483647 h 1975"/>
                <a:gd name="T74" fmla="*/ 2147483647 w 3299"/>
                <a:gd name="T75" fmla="*/ 2147483647 h 1975"/>
                <a:gd name="T76" fmla="*/ 2147483647 w 3299"/>
                <a:gd name="T77" fmla="*/ 2147483647 h 1975"/>
                <a:gd name="T78" fmla="*/ 2147483647 w 3299"/>
                <a:gd name="T79" fmla="*/ 2147483647 h 1975"/>
                <a:gd name="T80" fmla="*/ 2147483647 w 3299"/>
                <a:gd name="T81" fmla="*/ 2147483647 h 1975"/>
                <a:gd name="T82" fmla="*/ 2147483647 w 3299"/>
                <a:gd name="T83" fmla="*/ 2147483647 h 1975"/>
                <a:gd name="T84" fmla="*/ 2147483647 w 3299"/>
                <a:gd name="T85" fmla="*/ 2147483647 h 1975"/>
                <a:gd name="T86" fmla="*/ 2147483647 w 3299"/>
                <a:gd name="T87" fmla="*/ 2147483647 h 1975"/>
                <a:gd name="T88" fmla="*/ 2147483647 w 3299"/>
                <a:gd name="T89" fmla="*/ 2147483647 h 1975"/>
                <a:gd name="T90" fmla="*/ 2147483647 w 3299"/>
                <a:gd name="T91" fmla="*/ 2147483647 h 1975"/>
                <a:gd name="T92" fmla="*/ 2147483647 w 3299"/>
                <a:gd name="T93" fmla="*/ 2147483647 h 1975"/>
                <a:gd name="T94" fmla="*/ 2147483647 w 3299"/>
                <a:gd name="T95" fmla="*/ 2147483647 h 1975"/>
                <a:gd name="T96" fmla="*/ 2147483647 w 3299"/>
                <a:gd name="T97" fmla="*/ 2147483647 h 1975"/>
                <a:gd name="T98" fmla="*/ 2147483647 w 3299"/>
                <a:gd name="T99" fmla="*/ 2147483647 h 1975"/>
                <a:gd name="T100" fmla="*/ 2147483647 w 3299"/>
                <a:gd name="T101" fmla="*/ 2147483647 h 1975"/>
                <a:gd name="T102" fmla="*/ 2147483647 w 3299"/>
                <a:gd name="T103" fmla="*/ 2147483647 h 1975"/>
                <a:gd name="T104" fmla="*/ 2147483647 w 3299"/>
                <a:gd name="T105" fmla="*/ 2147483647 h 1975"/>
                <a:gd name="T106" fmla="*/ 2147483647 w 3299"/>
                <a:gd name="T107" fmla="*/ 2147483647 h 1975"/>
                <a:gd name="T108" fmla="*/ 2147483647 w 3299"/>
                <a:gd name="T109" fmla="*/ 2147483647 h 1975"/>
                <a:gd name="T110" fmla="*/ 2147483647 w 3299"/>
                <a:gd name="T111" fmla="*/ 2147483647 h 1975"/>
                <a:gd name="T112" fmla="*/ 2147483647 w 3299"/>
                <a:gd name="T113" fmla="*/ 2147483647 h 19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3299" h="1975">
                  <a:moveTo>
                    <a:pt x="3227" y="1136"/>
                  </a:moveTo>
                  <a:lnTo>
                    <a:pt x="3201" y="1120"/>
                  </a:lnTo>
                  <a:lnTo>
                    <a:pt x="3227" y="1120"/>
                  </a:lnTo>
                  <a:lnTo>
                    <a:pt x="3253" y="1103"/>
                  </a:lnTo>
                  <a:lnTo>
                    <a:pt x="3237" y="1074"/>
                  </a:lnTo>
                  <a:lnTo>
                    <a:pt x="3237" y="1048"/>
                  </a:lnTo>
                  <a:lnTo>
                    <a:pt x="3248" y="1023"/>
                  </a:lnTo>
                  <a:lnTo>
                    <a:pt x="3232" y="996"/>
                  </a:lnTo>
                  <a:lnTo>
                    <a:pt x="3232" y="970"/>
                  </a:lnTo>
                  <a:lnTo>
                    <a:pt x="3212" y="942"/>
                  </a:lnTo>
                  <a:lnTo>
                    <a:pt x="3186" y="935"/>
                  </a:lnTo>
                  <a:lnTo>
                    <a:pt x="3157" y="956"/>
                  </a:lnTo>
                  <a:lnTo>
                    <a:pt x="3145" y="981"/>
                  </a:lnTo>
                  <a:lnTo>
                    <a:pt x="3129" y="1009"/>
                  </a:lnTo>
                  <a:lnTo>
                    <a:pt x="3113" y="1035"/>
                  </a:lnTo>
                  <a:lnTo>
                    <a:pt x="3087" y="1028"/>
                  </a:lnTo>
                  <a:lnTo>
                    <a:pt x="3062" y="1033"/>
                  </a:lnTo>
                  <a:lnTo>
                    <a:pt x="3087" y="1053"/>
                  </a:lnTo>
                  <a:lnTo>
                    <a:pt x="3115" y="1062"/>
                  </a:lnTo>
                  <a:lnTo>
                    <a:pt x="3110" y="1087"/>
                  </a:lnTo>
                  <a:lnTo>
                    <a:pt x="3090" y="1113"/>
                  </a:lnTo>
                  <a:lnTo>
                    <a:pt x="3095" y="1141"/>
                  </a:lnTo>
                  <a:lnTo>
                    <a:pt x="3087" y="1168"/>
                  </a:lnTo>
                  <a:lnTo>
                    <a:pt x="3090" y="1193"/>
                  </a:lnTo>
                  <a:lnTo>
                    <a:pt x="3115" y="1219"/>
                  </a:lnTo>
                  <a:lnTo>
                    <a:pt x="3142" y="1232"/>
                  </a:lnTo>
                  <a:lnTo>
                    <a:pt x="3170" y="1251"/>
                  </a:lnTo>
                  <a:lnTo>
                    <a:pt x="3196" y="1265"/>
                  </a:lnTo>
                  <a:lnTo>
                    <a:pt x="3225" y="1258"/>
                  </a:lnTo>
                  <a:lnTo>
                    <a:pt x="3246" y="1230"/>
                  </a:lnTo>
                  <a:lnTo>
                    <a:pt x="3251" y="1203"/>
                  </a:lnTo>
                  <a:lnTo>
                    <a:pt x="3258" y="1178"/>
                  </a:lnTo>
                  <a:lnTo>
                    <a:pt x="3246" y="1152"/>
                  </a:lnTo>
                  <a:lnTo>
                    <a:pt x="3227" y="1136"/>
                  </a:lnTo>
                  <a:close/>
                  <a:moveTo>
                    <a:pt x="158" y="1726"/>
                  </a:moveTo>
                  <a:lnTo>
                    <a:pt x="186" y="1740"/>
                  </a:lnTo>
                  <a:lnTo>
                    <a:pt x="212" y="1742"/>
                  </a:lnTo>
                  <a:lnTo>
                    <a:pt x="240" y="1744"/>
                  </a:lnTo>
                  <a:lnTo>
                    <a:pt x="267" y="1737"/>
                  </a:lnTo>
                  <a:lnTo>
                    <a:pt x="292" y="1737"/>
                  </a:lnTo>
                  <a:lnTo>
                    <a:pt x="318" y="1716"/>
                  </a:lnTo>
                  <a:lnTo>
                    <a:pt x="346" y="1703"/>
                  </a:lnTo>
                  <a:lnTo>
                    <a:pt x="373" y="1698"/>
                  </a:lnTo>
                  <a:lnTo>
                    <a:pt x="401" y="1714"/>
                  </a:lnTo>
                  <a:lnTo>
                    <a:pt x="427" y="1732"/>
                  </a:lnTo>
                  <a:lnTo>
                    <a:pt x="456" y="1735"/>
                  </a:lnTo>
                  <a:lnTo>
                    <a:pt x="456" y="1763"/>
                  </a:lnTo>
                  <a:lnTo>
                    <a:pt x="429" y="1760"/>
                  </a:lnTo>
                  <a:lnTo>
                    <a:pt x="401" y="1765"/>
                  </a:lnTo>
                  <a:lnTo>
                    <a:pt x="375" y="1781"/>
                  </a:lnTo>
                  <a:lnTo>
                    <a:pt x="346" y="1807"/>
                  </a:lnTo>
                  <a:lnTo>
                    <a:pt x="336" y="1832"/>
                  </a:lnTo>
                  <a:lnTo>
                    <a:pt x="311" y="1822"/>
                  </a:lnTo>
                  <a:lnTo>
                    <a:pt x="282" y="1817"/>
                  </a:lnTo>
                  <a:lnTo>
                    <a:pt x="256" y="1820"/>
                  </a:lnTo>
                  <a:lnTo>
                    <a:pt x="230" y="1820"/>
                  </a:lnTo>
                  <a:lnTo>
                    <a:pt x="202" y="1809"/>
                  </a:lnTo>
                  <a:lnTo>
                    <a:pt x="176" y="1809"/>
                  </a:lnTo>
                  <a:lnTo>
                    <a:pt x="147" y="1815"/>
                  </a:lnTo>
                  <a:lnTo>
                    <a:pt x="119" y="1836"/>
                  </a:lnTo>
                  <a:lnTo>
                    <a:pt x="93" y="1856"/>
                  </a:lnTo>
                  <a:lnTo>
                    <a:pt x="99" y="1832"/>
                  </a:lnTo>
                  <a:lnTo>
                    <a:pt x="99" y="1807"/>
                  </a:lnTo>
                  <a:lnTo>
                    <a:pt x="124" y="1779"/>
                  </a:lnTo>
                  <a:lnTo>
                    <a:pt x="140" y="1753"/>
                  </a:lnTo>
                  <a:lnTo>
                    <a:pt x="158" y="1726"/>
                  </a:lnTo>
                  <a:close/>
                  <a:moveTo>
                    <a:pt x="1578" y="244"/>
                  </a:moveTo>
                  <a:lnTo>
                    <a:pt x="1601" y="251"/>
                  </a:lnTo>
                  <a:lnTo>
                    <a:pt x="1629" y="269"/>
                  </a:lnTo>
                  <a:lnTo>
                    <a:pt x="1655" y="277"/>
                  </a:lnTo>
                  <a:lnTo>
                    <a:pt x="1684" y="284"/>
                  </a:lnTo>
                  <a:lnTo>
                    <a:pt x="1709" y="298"/>
                  </a:lnTo>
                  <a:lnTo>
                    <a:pt x="1737" y="311"/>
                  </a:lnTo>
                  <a:lnTo>
                    <a:pt x="1763" y="326"/>
                  </a:lnTo>
                  <a:lnTo>
                    <a:pt x="1790" y="350"/>
                  </a:lnTo>
                  <a:lnTo>
                    <a:pt x="1818" y="360"/>
                  </a:lnTo>
                  <a:lnTo>
                    <a:pt x="1843" y="371"/>
                  </a:lnTo>
                  <a:lnTo>
                    <a:pt x="1869" y="371"/>
                  </a:lnTo>
                  <a:lnTo>
                    <a:pt x="1873" y="344"/>
                  </a:lnTo>
                  <a:lnTo>
                    <a:pt x="1873" y="316"/>
                  </a:lnTo>
                  <a:lnTo>
                    <a:pt x="1885" y="290"/>
                  </a:lnTo>
                  <a:lnTo>
                    <a:pt x="1873" y="261"/>
                  </a:lnTo>
                  <a:lnTo>
                    <a:pt x="1869" y="235"/>
                  </a:lnTo>
                  <a:lnTo>
                    <a:pt x="1843" y="217"/>
                  </a:lnTo>
                  <a:lnTo>
                    <a:pt x="1815" y="220"/>
                  </a:lnTo>
                  <a:lnTo>
                    <a:pt x="1800" y="194"/>
                  </a:lnTo>
                  <a:lnTo>
                    <a:pt x="1802" y="168"/>
                  </a:lnTo>
                  <a:lnTo>
                    <a:pt x="1790" y="140"/>
                  </a:lnTo>
                  <a:lnTo>
                    <a:pt x="1767" y="111"/>
                  </a:lnTo>
                  <a:lnTo>
                    <a:pt x="1740" y="99"/>
                  </a:lnTo>
                  <a:lnTo>
                    <a:pt x="1714" y="72"/>
                  </a:lnTo>
                  <a:lnTo>
                    <a:pt x="1689" y="67"/>
                  </a:lnTo>
                  <a:lnTo>
                    <a:pt x="1661" y="70"/>
                  </a:lnTo>
                  <a:lnTo>
                    <a:pt x="1631" y="70"/>
                  </a:lnTo>
                  <a:lnTo>
                    <a:pt x="1606" y="74"/>
                  </a:lnTo>
                  <a:lnTo>
                    <a:pt x="1578" y="72"/>
                  </a:lnTo>
                  <a:lnTo>
                    <a:pt x="1551" y="60"/>
                  </a:lnTo>
                  <a:lnTo>
                    <a:pt x="1525" y="44"/>
                  </a:lnTo>
                  <a:lnTo>
                    <a:pt x="1500" y="31"/>
                  </a:lnTo>
                  <a:lnTo>
                    <a:pt x="1474" y="21"/>
                  </a:lnTo>
                  <a:lnTo>
                    <a:pt x="1445" y="7"/>
                  </a:lnTo>
                  <a:lnTo>
                    <a:pt x="1419" y="5"/>
                  </a:lnTo>
                  <a:lnTo>
                    <a:pt x="1394" y="0"/>
                  </a:lnTo>
                  <a:lnTo>
                    <a:pt x="1368" y="2"/>
                  </a:lnTo>
                  <a:lnTo>
                    <a:pt x="1345" y="28"/>
                  </a:lnTo>
                  <a:lnTo>
                    <a:pt x="1318" y="39"/>
                  </a:lnTo>
                  <a:lnTo>
                    <a:pt x="1290" y="49"/>
                  </a:lnTo>
                  <a:lnTo>
                    <a:pt x="1265" y="60"/>
                  </a:lnTo>
                  <a:lnTo>
                    <a:pt x="1249" y="31"/>
                  </a:lnTo>
                  <a:lnTo>
                    <a:pt x="1246" y="5"/>
                  </a:lnTo>
                  <a:lnTo>
                    <a:pt x="1221" y="16"/>
                  </a:lnTo>
                  <a:lnTo>
                    <a:pt x="1192" y="26"/>
                  </a:lnTo>
                  <a:lnTo>
                    <a:pt x="1166" y="28"/>
                  </a:lnTo>
                  <a:lnTo>
                    <a:pt x="1140" y="23"/>
                  </a:lnTo>
                  <a:lnTo>
                    <a:pt x="1086" y="23"/>
                  </a:lnTo>
                  <a:lnTo>
                    <a:pt x="1060" y="18"/>
                  </a:lnTo>
                  <a:lnTo>
                    <a:pt x="1032" y="21"/>
                  </a:lnTo>
                  <a:lnTo>
                    <a:pt x="1004" y="26"/>
                  </a:lnTo>
                  <a:lnTo>
                    <a:pt x="949" y="26"/>
                  </a:lnTo>
                  <a:lnTo>
                    <a:pt x="921" y="46"/>
                  </a:lnTo>
                  <a:lnTo>
                    <a:pt x="913" y="72"/>
                  </a:lnTo>
                  <a:lnTo>
                    <a:pt x="894" y="101"/>
                  </a:lnTo>
                  <a:lnTo>
                    <a:pt x="866" y="106"/>
                  </a:lnTo>
                  <a:lnTo>
                    <a:pt x="841" y="127"/>
                  </a:lnTo>
                  <a:lnTo>
                    <a:pt x="815" y="134"/>
                  </a:lnTo>
                  <a:lnTo>
                    <a:pt x="830" y="161"/>
                  </a:lnTo>
                  <a:lnTo>
                    <a:pt x="845" y="187"/>
                  </a:lnTo>
                  <a:lnTo>
                    <a:pt x="848" y="215"/>
                  </a:lnTo>
                  <a:lnTo>
                    <a:pt x="838" y="240"/>
                  </a:lnTo>
                  <a:lnTo>
                    <a:pt x="845" y="269"/>
                  </a:lnTo>
                  <a:lnTo>
                    <a:pt x="853" y="240"/>
                  </a:lnTo>
                  <a:lnTo>
                    <a:pt x="864" y="215"/>
                  </a:lnTo>
                  <a:lnTo>
                    <a:pt x="889" y="187"/>
                  </a:lnTo>
                  <a:lnTo>
                    <a:pt x="892" y="161"/>
                  </a:lnTo>
                  <a:lnTo>
                    <a:pt x="897" y="134"/>
                  </a:lnTo>
                  <a:lnTo>
                    <a:pt x="915" y="109"/>
                  </a:lnTo>
                  <a:lnTo>
                    <a:pt x="942" y="119"/>
                  </a:lnTo>
                  <a:lnTo>
                    <a:pt x="944" y="145"/>
                  </a:lnTo>
                  <a:lnTo>
                    <a:pt x="972" y="152"/>
                  </a:lnTo>
                  <a:lnTo>
                    <a:pt x="988" y="182"/>
                  </a:lnTo>
                  <a:lnTo>
                    <a:pt x="1006" y="207"/>
                  </a:lnTo>
                  <a:lnTo>
                    <a:pt x="1029" y="233"/>
                  </a:lnTo>
                  <a:lnTo>
                    <a:pt x="1055" y="235"/>
                  </a:lnTo>
                  <a:lnTo>
                    <a:pt x="1081" y="228"/>
                  </a:lnTo>
                  <a:lnTo>
                    <a:pt x="1110" y="210"/>
                  </a:lnTo>
                  <a:lnTo>
                    <a:pt x="1135" y="184"/>
                  </a:lnTo>
                  <a:lnTo>
                    <a:pt x="1163" y="163"/>
                  </a:lnTo>
                  <a:lnTo>
                    <a:pt x="1189" y="148"/>
                  </a:lnTo>
                  <a:lnTo>
                    <a:pt x="1216" y="168"/>
                  </a:lnTo>
                  <a:lnTo>
                    <a:pt x="1205" y="196"/>
                  </a:lnTo>
                  <a:lnTo>
                    <a:pt x="1231" y="199"/>
                  </a:lnTo>
                  <a:lnTo>
                    <a:pt x="1256" y="196"/>
                  </a:lnTo>
                  <a:lnTo>
                    <a:pt x="1283" y="210"/>
                  </a:lnTo>
                  <a:lnTo>
                    <a:pt x="1309" y="219"/>
                  </a:lnTo>
                  <a:lnTo>
                    <a:pt x="1337" y="223"/>
                  </a:lnTo>
                  <a:lnTo>
                    <a:pt x="1362" y="219"/>
                  </a:lnTo>
                  <a:lnTo>
                    <a:pt x="1389" y="235"/>
                  </a:lnTo>
                  <a:lnTo>
                    <a:pt x="1417" y="238"/>
                  </a:lnTo>
                  <a:lnTo>
                    <a:pt x="1417" y="212"/>
                  </a:lnTo>
                  <a:lnTo>
                    <a:pt x="1401" y="186"/>
                  </a:lnTo>
                  <a:lnTo>
                    <a:pt x="1428" y="184"/>
                  </a:lnTo>
                  <a:lnTo>
                    <a:pt x="1456" y="186"/>
                  </a:lnTo>
                  <a:lnTo>
                    <a:pt x="1482" y="189"/>
                  </a:lnTo>
                  <a:lnTo>
                    <a:pt x="1510" y="191"/>
                  </a:lnTo>
                  <a:lnTo>
                    <a:pt x="1536" y="191"/>
                  </a:lnTo>
                  <a:lnTo>
                    <a:pt x="1562" y="215"/>
                  </a:lnTo>
                  <a:lnTo>
                    <a:pt x="1578" y="244"/>
                  </a:lnTo>
                  <a:close/>
                  <a:moveTo>
                    <a:pt x="1848" y="1975"/>
                  </a:moveTo>
                  <a:lnTo>
                    <a:pt x="1875" y="1963"/>
                  </a:lnTo>
                  <a:lnTo>
                    <a:pt x="1896" y="1936"/>
                  </a:lnTo>
                  <a:lnTo>
                    <a:pt x="1924" y="1933"/>
                  </a:lnTo>
                  <a:lnTo>
                    <a:pt x="1952" y="1921"/>
                  </a:lnTo>
                  <a:lnTo>
                    <a:pt x="1960" y="1915"/>
                  </a:lnTo>
                  <a:lnTo>
                    <a:pt x="1968" y="1910"/>
                  </a:lnTo>
                  <a:lnTo>
                    <a:pt x="1993" y="1894"/>
                  </a:lnTo>
                  <a:lnTo>
                    <a:pt x="1981" y="1892"/>
                  </a:lnTo>
                  <a:lnTo>
                    <a:pt x="1954" y="1887"/>
                  </a:lnTo>
                  <a:lnTo>
                    <a:pt x="1926" y="1894"/>
                  </a:lnTo>
                  <a:lnTo>
                    <a:pt x="1901" y="1900"/>
                  </a:lnTo>
                  <a:lnTo>
                    <a:pt x="1896" y="1928"/>
                  </a:lnTo>
                  <a:lnTo>
                    <a:pt x="1867" y="1949"/>
                  </a:lnTo>
                  <a:lnTo>
                    <a:pt x="1848" y="1975"/>
                  </a:lnTo>
                  <a:close/>
                  <a:moveTo>
                    <a:pt x="3299" y="1245"/>
                  </a:moveTo>
                  <a:lnTo>
                    <a:pt x="3294" y="1240"/>
                  </a:lnTo>
                  <a:lnTo>
                    <a:pt x="3281" y="1251"/>
                  </a:lnTo>
                  <a:lnTo>
                    <a:pt x="3265" y="1279"/>
                  </a:lnTo>
                  <a:lnTo>
                    <a:pt x="3281" y="1304"/>
                  </a:lnTo>
                  <a:lnTo>
                    <a:pt x="3284" y="1299"/>
                  </a:lnTo>
                  <a:lnTo>
                    <a:pt x="3292" y="1274"/>
                  </a:lnTo>
                  <a:lnTo>
                    <a:pt x="3299" y="1245"/>
                  </a:lnTo>
                  <a:close/>
                  <a:moveTo>
                    <a:pt x="2578" y="1136"/>
                  </a:moveTo>
                  <a:lnTo>
                    <a:pt x="2583" y="1136"/>
                  </a:lnTo>
                  <a:lnTo>
                    <a:pt x="2601" y="1111"/>
                  </a:lnTo>
                  <a:lnTo>
                    <a:pt x="2620" y="1082"/>
                  </a:lnTo>
                  <a:lnTo>
                    <a:pt x="2620" y="1056"/>
                  </a:lnTo>
                  <a:lnTo>
                    <a:pt x="2635" y="1030"/>
                  </a:lnTo>
                  <a:lnTo>
                    <a:pt x="2663" y="1007"/>
                  </a:lnTo>
                  <a:lnTo>
                    <a:pt x="2679" y="979"/>
                  </a:lnTo>
                  <a:lnTo>
                    <a:pt x="2687" y="950"/>
                  </a:lnTo>
                  <a:lnTo>
                    <a:pt x="2692" y="924"/>
                  </a:lnTo>
                  <a:lnTo>
                    <a:pt x="2702" y="898"/>
                  </a:lnTo>
                  <a:lnTo>
                    <a:pt x="2677" y="888"/>
                  </a:lnTo>
                  <a:lnTo>
                    <a:pt x="2668" y="914"/>
                  </a:lnTo>
                  <a:lnTo>
                    <a:pt x="2656" y="942"/>
                  </a:lnTo>
                  <a:lnTo>
                    <a:pt x="2645" y="968"/>
                  </a:lnTo>
                  <a:lnTo>
                    <a:pt x="2640" y="994"/>
                  </a:lnTo>
                  <a:lnTo>
                    <a:pt x="2615" y="1020"/>
                  </a:lnTo>
                  <a:lnTo>
                    <a:pt x="2609" y="1048"/>
                  </a:lnTo>
                  <a:lnTo>
                    <a:pt x="2599" y="1074"/>
                  </a:lnTo>
                  <a:lnTo>
                    <a:pt x="2588" y="1103"/>
                  </a:lnTo>
                  <a:lnTo>
                    <a:pt x="2581" y="1129"/>
                  </a:lnTo>
                  <a:lnTo>
                    <a:pt x="2578" y="1136"/>
                  </a:lnTo>
                  <a:close/>
                  <a:moveTo>
                    <a:pt x="856" y="46"/>
                  </a:moveTo>
                  <a:lnTo>
                    <a:pt x="859" y="72"/>
                  </a:lnTo>
                  <a:lnTo>
                    <a:pt x="830" y="88"/>
                  </a:lnTo>
                  <a:lnTo>
                    <a:pt x="836" y="62"/>
                  </a:lnTo>
                  <a:lnTo>
                    <a:pt x="856" y="46"/>
                  </a:lnTo>
                  <a:close/>
                  <a:moveTo>
                    <a:pt x="770" y="132"/>
                  </a:moveTo>
                  <a:lnTo>
                    <a:pt x="797" y="134"/>
                  </a:lnTo>
                  <a:lnTo>
                    <a:pt x="799" y="161"/>
                  </a:lnTo>
                  <a:lnTo>
                    <a:pt x="774" y="163"/>
                  </a:lnTo>
                  <a:lnTo>
                    <a:pt x="747" y="155"/>
                  </a:lnTo>
                  <a:lnTo>
                    <a:pt x="770" y="132"/>
                  </a:lnTo>
                  <a:close/>
                  <a:moveTo>
                    <a:pt x="721" y="168"/>
                  </a:moveTo>
                  <a:lnTo>
                    <a:pt x="744" y="194"/>
                  </a:lnTo>
                  <a:lnTo>
                    <a:pt x="716" y="194"/>
                  </a:lnTo>
                  <a:lnTo>
                    <a:pt x="691" y="178"/>
                  </a:lnTo>
                  <a:lnTo>
                    <a:pt x="719" y="166"/>
                  </a:lnTo>
                  <a:lnTo>
                    <a:pt x="721" y="168"/>
                  </a:lnTo>
                  <a:close/>
                  <a:moveTo>
                    <a:pt x="1078" y="249"/>
                  </a:moveTo>
                  <a:lnTo>
                    <a:pt x="1106" y="265"/>
                  </a:lnTo>
                  <a:lnTo>
                    <a:pt x="1131" y="290"/>
                  </a:lnTo>
                  <a:lnTo>
                    <a:pt x="1104" y="277"/>
                  </a:lnTo>
                  <a:lnTo>
                    <a:pt x="1076" y="267"/>
                  </a:lnTo>
                  <a:lnTo>
                    <a:pt x="1078" y="249"/>
                  </a:lnTo>
                  <a:close/>
                  <a:moveTo>
                    <a:pt x="1029" y="259"/>
                  </a:moveTo>
                  <a:lnTo>
                    <a:pt x="1055" y="261"/>
                  </a:lnTo>
                  <a:lnTo>
                    <a:pt x="1065" y="288"/>
                  </a:lnTo>
                  <a:lnTo>
                    <a:pt x="1037" y="295"/>
                  </a:lnTo>
                  <a:lnTo>
                    <a:pt x="1011" y="303"/>
                  </a:lnTo>
                  <a:lnTo>
                    <a:pt x="1016" y="274"/>
                  </a:lnTo>
                  <a:lnTo>
                    <a:pt x="1029" y="259"/>
                  </a:lnTo>
                  <a:close/>
                  <a:moveTo>
                    <a:pt x="887" y="284"/>
                  </a:moveTo>
                  <a:lnTo>
                    <a:pt x="913" y="282"/>
                  </a:lnTo>
                  <a:lnTo>
                    <a:pt x="942" y="274"/>
                  </a:lnTo>
                  <a:lnTo>
                    <a:pt x="967" y="256"/>
                  </a:lnTo>
                  <a:lnTo>
                    <a:pt x="995" y="261"/>
                  </a:lnTo>
                  <a:lnTo>
                    <a:pt x="988" y="288"/>
                  </a:lnTo>
                  <a:lnTo>
                    <a:pt x="962" y="293"/>
                  </a:lnTo>
                  <a:lnTo>
                    <a:pt x="970" y="318"/>
                  </a:lnTo>
                  <a:lnTo>
                    <a:pt x="942" y="334"/>
                  </a:lnTo>
                  <a:lnTo>
                    <a:pt x="915" y="350"/>
                  </a:lnTo>
                  <a:lnTo>
                    <a:pt x="931" y="323"/>
                  </a:lnTo>
                  <a:lnTo>
                    <a:pt x="905" y="326"/>
                  </a:lnTo>
                  <a:lnTo>
                    <a:pt x="876" y="342"/>
                  </a:lnTo>
                  <a:lnTo>
                    <a:pt x="850" y="344"/>
                  </a:lnTo>
                  <a:lnTo>
                    <a:pt x="843" y="318"/>
                  </a:lnTo>
                  <a:lnTo>
                    <a:pt x="871" y="293"/>
                  </a:lnTo>
                  <a:lnTo>
                    <a:pt x="887" y="284"/>
                  </a:lnTo>
                  <a:close/>
                  <a:moveTo>
                    <a:pt x="603" y="367"/>
                  </a:moveTo>
                  <a:lnTo>
                    <a:pt x="603" y="394"/>
                  </a:lnTo>
                  <a:lnTo>
                    <a:pt x="574" y="383"/>
                  </a:lnTo>
                  <a:lnTo>
                    <a:pt x="603" y="365"/>
                  </a:lnTo>
                  <a:lnTo>
                    <a:pt x="603" y="367"/>
                  </a:lnTo>
                  <a:close/>
                  <a:moveTo>
                    <a:pt x="1559" y="618"/>
                  </a:moveTo>
                  <a:lnTo>
                    <a:pt x="1534" y="627"/>
                  </a:lnTo>
                  <a:lnTo>
                    <a:pt x="1559" y="611"/>
                  </a:lnTo>
                  <a:lnTo>
                    <a:pt x="1559" y="618"/>
                  </a:lnTo>
                  <a:close/>
                  <a:moveTo>
                    <a:pt x="1094" y="1514"/>
                  </a:moveTo>
                  <a:lnTo>
                    <a:pt x="1120" y="1530"/>
                  </a:lnTo>
                  <a:lnTo>
                    <a:pt x="1112" y="1556"/>
                  </a:lnTo>
                  <a:lnTo>
                    <a:pt x="1086" y="1561"/>
                  </a:lnTo>
                  <a:lnTo>
                    <a:pt x="1058" y="1543"/>
                  </a:lnTo>
                  <a:lnTo>
                    <a:pt x="1086" y="1517"/>
                  </a:lnTo>
                  <a:lnTo>
                    <a:pt x="1094" y="1514"/>
                  </a:lnTo>
                  <a:close/>
                  <a:moveTo>
                    <a:pt x="668" y="1675"/>
                  </a:moveTo>
                  <a:lnTo>
                    <a:pt x="691" y="1701"/>
                  </a:lnTo>
                  <a:lnTo>
                    <a:pt x="664" y="1716"/>
                  </a:lnTo>
                  <a:lnTo>
                    <a:pt x="652" y="1691"/>
                  </a:lnTo>
                  <a:lnTo>
                    <a:pt x="668" y="1675"/>
                  </a:lnTo>
                  <a:close/>
                  <a:moveTo>
                    <a:pt x="1449" y="1776"/>
                  </a:moveTo>
                  <a:lnTo>
                    <a:pt x="1474" y="1774"/>
                  </a:lnTo>
                  <a:lnTo>
                    <a:pt x="1502" y="1783"/>
                  </a:lnTo>
                  <a:lnTo>
                    <a:pt x="1525" y="1809"/>
                  </a:lnTo>
                  <a:lnTo>
                    <a:pt x="1521" y="1836"/>
                  </a:lnTo>
                  <a:lnTo>
                    <a:pt x="1502" y="1861"/>
                  </a:lnTo>
                  <a:lnTo>
                    <a:pt x="1474" y="1864"/>
                  </a:lnTo>
                  <a:lnTo>
                    <a:pt x="1451" y="1838"/>
                  </a:lnTo>
                  <a:lnTo>
                    <a:pt x="1430" y="1809"/>
                  </a:lnTo>
                  <a:lnTo>
                    <a:pt x="1435" y="1783"/>
                  </a:lnTo>
                  <a:lnTo>
                    <a:pt x="1449" y="1776"/>
                  </a:lnTo>
                  <a:close/>
                  <a:moveTo>
                    <a:pt x="592" y="1856"/>
                  </a:moveTo>
                  <a:lnTo>
                    <a:pt x="603" y="1882"/>
                  </a:lnTo>
                  <a:lnTo>
                    <a:pt x="576" y="1885"/>
                  </a:lnTo>
                  <a:lnTo>
                    <a:pt x="579" y="1859"/>
                  </a:lnTo>
                  <a:lnTo>
                    <a:pt x="592" y="1856"/>
                  </a:lnTo>
                  <a:close/>
                  <a:moveTo>
                    <a:pt x="755" y="1905"/>
                  </a:moveTo>
                  <a:lnTo>
                    <a:pt x="781" y="1905"/>
                  </a:lnTo>
                  <a:lnTo>
                    <a:pt x="765" y="1931"/>
                  </a:lnTo>
                  <a:lnTo>
                    <a:pt x="740" y="1926"/>
                  </a:lnTo>
                  <a:lnTo>
                    <a:pt x="755" y="1905"/>
                  </a:lnTo>
                  <a:close/>
                  <a:moveTo>
                    <a:pt x="802" y="1885"/>
                  </a:moveTo>
                  <a:lnTo>
                    <a:pt x="830" y="1887"/>
                  </a:lnTo>
                  <a:lnTo>
                    <a:pt x="856" y="1898"/>
                  </a:lnTo>
                  <a:lnTo>
                    <a:pt x="908" y="1898"/>
                  </a:lnTo>
                  <a:lnTo>
                    <a:pt x="900" y="1924"/>
                  </a:lnTo>
                  <a:lnTo>
                    <a:pt x="871" y="1938"/>
                  </a:lnTo>
                  <a:lnTo>
                    <a:pt x="843" y="1924"/>
                  </a:lnTo>
                  <a:lnTo>
                    <a:pt x="817" y="1921"/>
                  </a:lnTo>
                  <a:lnTo>
                    <a:pt x="797" y="1894"/>
                  </a:lnTo>
                  <a:lnTo>
                    <a:pt x="802" y="1885"/>
                  </a:lnTo>
                  <a:close/>
                  <a:moveTo>
                    <a:pt x="1177" y="1915"/>
                  </a:moveTo>
                  <a:lnTo>
                    <a:pt x="1205" y="1913"/>
                  </a:lnTo>
                  <a:lnTo>
                    <a:pt x="1231" y="1921"/>
                  </a:lnTo>
                  <a:lnTo>
                    <a:pt x="1205" y="1933"/>
                  </a:lnTo>
                  <a:lnTo>
                    <a:pt x="1177" y="1931"/>
                  </a:lnTo>
                  <a:lnTo>
                    <a:pt x="1177" y="1915"/>
                  </a:lnTo>
                  <a:close/>
                  <a:moveTo>
                    <a:pt x="915" y="1924"/>
                  </a:moveTo>
                  <a:lnTo>
                    <a:pt x="942" y="1921"/>
                  </a:lnTo>
                  <a:lnTo>
                    <a:pt x="952" y="1947"/>
                  </a:lnTo>
                  <a:lnTo>
                    <a:pt x="923" y="1949"/>
                  </a:lnTo>
                  <a:lnTo>
                    <a:pt x="910" y="1924"/>
                  </a:lnTo>
                  <a:lnTo>
                    <a:pt x="915" y="1924"/>
                  </a:lnTo>
                  <a:close/>
                  <a:moveTo>
                    <a:pt x="44" y="1900"/>
                  </a:moveTo>
                  <a:lnTo>
                    <a:pt x="34" y="1926"/>
                  </a:lnTo>
                  <a:lnTo>
                    <a:pt x="26" y="1954"/>
                  </a:lnTo>
                  <a:lnTo>
                    <a:pt x="0" y="1954"/>
                  </a:lnTo>
                  <a:lnTo>
                    <a:pt x="0" y="1928"/>
                  </a:lnTo>
                  <a:lnTo>
                    <a:pt x="28" y="1903"/>
                  </a:lnTo>
                  <a:lnTo>
                    <a:pt x="44" y="1900"/>
                  </a:lnTo>
                  <a:close/>
                  <a:moveTo>
                    <a:pt x="412" y="371"/>
                  </a:moveTo>
                  <a:lnTo>
                    <a:pt x="437" y="360"/>
                  </a:lnTo>
                  <a:lnTo>
                    <a:pt x="465" y="355"/>
                  </a:lnTo>
                  <a:lnTo>
                    <a:pt x="491" y="350"/>
                  </a:lnTo>
                  <a:lnTo>
                    <a:pt x="518" y="329"/>
                  </a:lnTo>
                  <a:lnTo>
                    <a:pt x="546" y="316"/>
                  </a:lnTo>
                  <a:lnTo>
                    <a:pt x="571" y="305"/>
                  </a:lnTo>
                  <a:lnTo>
                    <a:pt x="597" y="305"/>
                  </a:lnTo>
                  <a:lnTo>
                    <a:pt x="606" y="277"/>
                  </a:lnTo>
                  <a:lnTo>
                    <a:pt x="606" y="251"/>
                  </a:lnTo>
                  <a:lnTo>
                    <a:pt x="610" y="226"/>
                  </a:lnTo>
                  <a:lnTo>
                    <a:pt x="582" y="199"/>
                  </a:lnTo>
                  <a:lnTo>
                    <a:pt x="556" y="207"/>
                  </a:lnTo>
                  <a:lnTo>
                    <a:pt x="535" y="178"/>
                  </a:lnTo>
                  <a:lnTo>
                    <a:pt x="562" y="171"/>
                  </a:lnTo>
                  <a:lnTo>
                    <a:pt x="548" y="143"/>
                  </a:lnTo>
                  <a:lnTo>
                    <a:pt x="520" y="127"/>
                  </a:lnTo>
                  <a:lnTo>
                    <a:pt x="494" y="122"/>
                  </a:lnTo>
                  <a:lnTo>
                    <a:pt x="468" y="106"/>
                  </a:lnTo>
                  <a:lnTo>
                    <a:pt x="442" y="99"/>
                  </a:lnTo>
                  <a:lnTo>
                    <a:pt x="414" y="95"/>
                  </a:lnTo>
                  <a:lnTo>
                    <a:pt x="388" y="95"/>
                  </a:lnTo>
                  <a:lnTo>
                    <a:pt x="362" y="99"/>
                  </a:lnTo>
                  <a:lnTo>
                    <a:pt x="336" y="104"/>
                  </a:lnTo>
                  <a:lnTo>
                    <a:pt x="311" y="101"/>
                  </a:lnTo>
                  <a:lnTo>
                    <a:pt x="282" y="109"/>
                  </a:lnTo>
                  <a:lnTo>
                    <a:pt x="256" y="119"/>
                  </a:lnTo>
                  <a:lnTo>
                    <a:pt x="228" y="134"/>
                  </a:lnTo>
                  <a:lnTo>
                    <a:pt x="202" y="111"/>
                  </a:lnTo>
                  <a:lnTo>
                    <a:pt x="176" y="132"/>
                  </a:lnTo>
                  <a:lnTo>
                    <a:pt x="173" y="157"/>
                  </a:lnTo>
                  <a:lnTo>
                    <a:pt x="173" y="187"/>
                  </a:lnTo>
                  <a:lnTo>
                    <a:pt x="181" y="212"/>
                  </a:lnTo>
                  <a:lnTo>
                    <a:pt x="199" y="238"/>
                  </a:lnTo>
                  <a:lnTo>
                    <a:pt x="223" y="265"/>
                  </a:lnTo>
                  <a:lnTo>
                    <a:pt x="251" y="293"/>
                  </a:lnTo>
                  <a:lnTo>
                    <a:pt x="277" y="308"/>
                  </a:lnTo>
                  <a:lnTo>
                    <a:pt x="306" y="326"/>
                  </a:lnTo>
                  <a:lnTo>
                    <a:pt x="334" y="339"/>
                  </a:lnTo>
                  <a:lnTo>
                    <a:pt x="359" y="350"/>
                  </a:lnTo>
                  <a:lnTo>
                    <a:pt x="385" y="357"/>
                  </a:lnTo>
                  <a:lnTo>
                    <a:pt x="412" y="371"/>
                  </a:lnTo>
                  <a:close/>
                  <a:moveTo>
                    <a:pt x="2079" y="417"/>
                  </a:moveTo>
                  <a:lnTo>
                    <a:pt x="2087" y="443"/>
                  </a:lnTo>
                  <a:lnTo>
                    <a:pt x="2060" y="424"/>
                  </a:lnTo>
                  <a:lnTo>
                    <a:pt x="2079" y="417"/>
                  </a:lnTo>
                  <a:close/>
                  <a:moveTo>
                    <a:pt x="2035" y="453"/>
                  </a:moveTo>
                  <a:lnTo>
                    <a:pt x="2064" y="477"/>
                  </a:lnTo>
                  <a:lnTo>
                    <a:pt x="2035" y="471"/>
                  </a:lnTo>
                  <a:lnTo>
                    <a:pt x="2035" y="453"/>
                  </a:lnTo>
                  <a:close/>
                  <a:moveTo>
                    <a:pt x="2154" y="583"/>
                  </a:moveTo>
                  <a:lnTo>
                    <a:pt x="2170" y="608"/>
                  </a:lnTo>
                  <a:lnTo>
                    <a:pt x="2143" y="580"/>
                  </a:lnTo>
                  <a:lnTo>
                    <a:pt x="2154" y="583"/>
                  </a:lnTo>
                  <a:close/>
                  <a:moveTo>
                    <a:pt x="2187" y="673"/>
                  </a:moveTo>
                  <a:lnTo>
                    <a:pt x="2193" y="699"/>
                  </a:lnTo>
                  <a:lnTo>
                    <a:pt x="2182" y="673"/>
                  </a:lnTo>
                  <a:lnTo>
                    <a:pt x="2187" y="673"/>
                  </a:lnTo>
                  <a:close/>
                  <a:moveTo>
                    <a:pt x="2567" y="986"/>
                  </a:moveTo>
                  <a:lnTo>
                    <a:pt x="2565" y="1012"/>
                  </a:lnTo>
                  <a:lnTo>
                    <a:pt x="2548" y="986"/>
                  </a:lnTo>
                  <a:lnTo>
                    <a:pt x="2567" y="986"/>
                  </a:lnTo>
                  <a:close/>
                  <a:moveTo>
                    <a:pt x="2542" y="1023"/>
                  </a:moveTo>
                  <a:lnTo>
                    <a:pt x="2557" y="1051"/>
                  </a:lnTo>
                  <a:lnTo>
                    <a:pt x="2567" y="1076"/>
                  </a:lnTo>
                  <a:lnTo>
                    <a:pt x="2560" y="1103"/>
                  </a:lnTo>
                  <a:lnTo>
                    <a:pt x="2534" y="1103"/>
                  </a:lnTo>
                  <a:lnTo>
                    <a:pt x="2521" y="1074"/>
                  </a:lnTo>
                  <a:lnTo>
                    <a:pt x="2523" y="1048"/>
                  </a:lnTo>
                  <a:lnTo>
                    <a:pt x="2513" y="1023"/>
                  </a:lnTo>
                  <a:lnTo>
                    <a:pt x="2500" y="996"/>
                  </a:lnTo>
                  <a:lnTo>
                    <a:pt x="2527" y="994"/>
                  </a:lnTo>
                  <a:lnTo>
                    <a:pt x="2542" y="1023"/>
                  </a:lnTo>
                  <a:close/>
                  <a:moveTo>
                    <a:pt x="3064" y="1147"/>
                  </a:moveTo>
                  <a:lnTo>
                    <a:pt x="3072" y="1173"/>
                  </a:lnTo>
                  <a:lnTo>
                    <a:pt x="3082" y="1198"/>
                  </a:lnTo>
                  <a:lnTo>
                    <a:pt x="3108" y="1222"/>
                  </a:lnTo>
                  <a:lnTo>
                    <a:pt x="3134" y="1235"/>
                  </a:lnTo>
                  <a:lnTo>
                    <a:pt x="3108" y="1258"/>
                  </a:lnTo>
                  <a:lnTo>
                    <a:pt x="3082" y="1232"/>
                  </a:lnTo>
                  <a:lnTo>
                    <a:pt x="3053" y="1209"/>
                  </a:lnTo>
                  <a:lnTo>
                    <a:pt x="3030" y="1183"/>
                  </a:lnTo>
                  <a:lnTo>
                    <a:pt x="3030" y="1154"/>
                  </a:lnTo>
                  <a:lnTo>
                    <a:pt x="3057" y="1152"/>
                  </a:lnTo>
                  <a:lnTo>
                    <a:pt x="3064" y="1147"/>
                  </a:lnTo>
                  <a:close/>
                  <a:moveTo>
                    <a:pt x="3147" y="1240"/>
                  </a:moveTo>
                  <a:lnTo>
                    <a:pt x="3173" y="1261"/>
                  </a:lnTo>
                  <a:lnTo>
                    <a:pt x="3198" y="1284"/>
                  </a:lnTo>
                  <a:lnTo>
                    <a:pt x="3188" y="1313"/>
                  </a:lnTo>
                  <a:lnTo>
                    <a:pt x="3163" y="1309"/>
                  </a:lnTo>
                  <a:lnTo>
                    <a:pt x="3148" y="1297"/>
                  </a:lnTo>
                  <a:lnTo>
                    <a:pt x="3159" y="1323"/>
                  </a:lnTo>
                  <a:lnTo>
                    <a:pt x="3170" y="1348"/>
                  </a:lnTo>
                  <a:lnTo>
                    <a:pt x="3149" y="1375"/>
                  </a:lnTo>
                  <a:lnTo>
                    <a:pt x="3124" y="1396"/>
                  </a:lnTo>
                  <a:lnTo>
                    <a:pt x="3108" y="1421"/>
                  </a:lnTo>
                  <a:lnTo>
                    <a:pt x="3082" y="1447"/>
                  </a:lnTo>
                  <a:lnTo>
                    <a:pt x="3057" y="1465"/>
                  </a:lnTo>
                  <a:lnTo>
                    <a:pt x="3030" y="1440"/>
                  </a:lnTo>
                  <a:lnTo>
                    <a:pt x="3004" y="1411"/>
                  </a:lnTo>
                  <a:lnTo>
                    <a:pt x="3012" y="1385"/>
                  </a:lnTo>
                  <a:lnTo>
                    <a:pt x="3020" y="1357"/>
                  </a:lnTo>
                  <a:lnTo>
                    <a:pt x="3020" y="1330"/>
                  </a:lnTo>
                  <a:lnTo>
                    <a:pt x="3023" y="1304"/>
                  </a:lnTo>
                  <a:lnTo>
                    <a:pt x="3051" y="1309"/>
                  </a:lnTo>
                  <a:lnTo>
                    <a:pt x="3028" y="1284"/>
                  </a:lnTo>
                  <a:lnTo>
                    <a:pt x="3033" y="1258"/>
                  </a:lnTo>
                  <a:lnTo>
                    <a:pt x="3028" y="1232"/>
                  </a:lnTo>
                  <a:lnTo>
                    <a:pt x="3020" y="1207"/>
                  </a:lnTo>
                  <a:lnTo>
                    <a:pt x="3030" y="1196"/>
                  </a:lnTo>
                  <a:lnTo>
                    <a:pt x="3057" y="1217"/>
                  </a:lnTo>
                  <a:lnTo>
                    <a:pt x="3082" y="1240"/>
                  </a:lnTo>
                  <a:lnTo>
                    <a:pt x="3092" y="1265"/>
                  </a:lnTo>
                  <a:lnTo>
                    <a:pt x="3118" y="1281"/>
                  </a:lnTo>
                  <a:lnTo>
                    <a:pt x="3144" y="1293"/>
                  </a:lnTo>
                  <a:lnTo>
                    <a:pt x="3134" y="1284"/>
                  </a:lnTo>
                  <a:lnTo>
                    <a:pt x="3115" y="1258"/>
                  </a:lnTo>
                  <a:lnTo>
                    <a:pt x="3145" y="1237"/>
                  </a:lnTo>
                  <a:lnTo>
                    <a:pt x="3147" y="1240"/>
                  </a:lnTo>
                  <a:close/>
                  <a:moveTo>
                    <a:pt x="3237" y="1346"/>
                  </a:moveTo>
                  <a:lnTo>
                    <a:pt x="3242" y="1371"/>
                  </a:lnTo>
                  <a:lnTo>
                    <a:pt x="3230" y="1401"/>
                  </a:lnTo>
                  <a:lnTo>
                    <a:pt x="3219" y="1375"/>
                  </a:lnTo>
                  <a:lnTo>
                    <a:pt x="3230" y="1348"/>
                  </a:lnTo>
                  <a:lnTo>
                    <a:pt x="3237" y="1346"/>
                  </a:lnTo>
                  <a:close/>
                  <a:moveTo>
                    <a:pt x="2141" y="1377"/>
                  </a:moveTo>
                  <a:lnTo>
                    <a:pt x="2131" y="1406"/>
                  </a:lnTo>
                  <a:lnTo>
                    <a:pt x="2133" y="1380"/>
                  </a:lnTo>
                  <a:lnTo>
                    <a:pt x="2141" y="1377"/>
                  </a:lnTo>
                  <a:close/>
                  <a:moveTo>
                    <a:pt x="2195" y="1532"/>
                  </a:moveTo>
                  <a:lnTo>
                    <a:pt x="2224" y="1532"/>
                  </a:lnTo>
                  <a:lnTo>
                    <a:pt x="2249" y="1530"/>
                  </a:lnTo>
                  <a:lnTo>
                    <a:pt x="2276" y="1558"/>
                  </a:lnTo>
                  <a:lnTo>
                    <a:pt x="2249" y="1564"/>
                  </a:lnTo>
                  <a:lnTo>
                    <a:pt x="2221" y="1548"/>
                  </a:lnTo>
                  <a:lnTo>
                    <a:pt x="2195" y="1551"/>
                  </a:lnTo>
                  <a:lnTo>
                    <a:pt x="2195" y="1532"/>
                  </a:lnTo>
                  <a:close/>
                  <a:moveTo>
                    <a:pt x="1945" y="1641"/>
                  </a:moveTo>
                  <a:lnTo>
                    <a:pt x="1970" y="1638"/>
                  </a:lnTo>
                  <a:lnTo>
                    <a:pt x="1963" y="1664"/>
                  </a:lnTo>
                  <a:lnTo>
                    <a:pt x="1937" y="1668"/>
                  </a:lnTo>
                  <a:lnTo>
                    <a:pt x="1940" y="1641"/>
                  </a:lnTo>
                  <a:lnTo>
                    <a:pt x="1945" y="1641"/>
                  </a:lnTo>
                  <a:close/>
                  <a:moveTo>
                    <a:pt x="1885" y="1670"/>
                  </a:moveTo>
                  <a:lnTo>
                    <a:pt x="1910" y="1677"/>
                  </a:lnTo>
                  <a:lnTo>
                    <a:pt x="1885" y="1687"/>
                  </a:lnTo>
                  <a:lnTo>
                    <a:pt x="1885" y="1670"/>
                  </a:lnTo>
                  <a:close/>
                  <a:moveTo>
                    <a:pt x="1973" y="1714"/>
                  </a:moveTo>
                  <a:lnTo>
                    <a:pt x="1963" y="1740"/>
                  </a:lnTo>
                  <a:lnTo>
                    <a:pt x="1935" y="1747"/>
                  </a:lnTo>
                  <a:lnTo>
                    <a:pt x="1952" y="1721"/>
                  </a:lnTo>
                  <a:lnTo>
                    <a:pt x="1973" y="1714"/>
                  </a:lnTo>
                  <a:close/>
                  <a:moveTo>
                    <a:pt x="3248" y="1263"/>
                  </a:moveTo>
                  <a:lnTo>
                    <a:pt x="3246" y="1289"/>
                  </a:lnTo>
                  <a:lnTo>
                    <a:pt x="3246" y="1263"/>
                  </a:lnTo>
                  <a:lnTo>
                    <a:pt x="3248" y="1263"/>
                  </a:lnTo>
                  <a:close/>
                  <a:moveTo>
                    <a:pt x="2159" y="1532"/>
                  </a:moveTo>
                  <a:lnTo>
                    <a:pt x="2131" y="1540"/>
                  </a:lnTo>
                  <a:lnTo>
                    <a:pt x="2120" y="1566"/>
                  </a:lnTo>
                  <a:lnTo>
                    <a:pt x="2094" y="1590"/>
                  </a:lnTo>
                  <a:lnTo>
                    <a:pt x="2069" y="1615"/>
                  </a:lnTo>
                  <a:lnTo>
                    <a:pt x="2058" y="1643"/>
                  </a:lnTo>
                  <a:lnTo>
                    <a:pt x="2030" y="1654"/>
                  </a:lnTo>
                  <a:lnTo>
                    <a:pt x="2009" y="1680"/>
                  </a:lnTo>
                  <a:lnTo>
                    <a:pt x="1999" y="1706"/>
                  </a:lnTo>
                  <a:lnTo>
                    <a:pt x="1996" y="1732"/>
                  </a:lnTo>
                  <a:lnTo>
                    <a:pt x="1970" y="1742"/>
                  </a:lnTo>
                  <a:lnTo>
                    <a:pt x="1986" y="1768"/>
                  </a:lnTo>
                  <a:lnTo>
                    <a:pt x="1960" y="1794"/>
                  </a:lnTo>
                  <a:lnTo>
                    <a:pt x="1973" y="1820"/>
                  </a:lnTo>
                  <a:lnTo>
                    <a:pt x="1968" y="1848"/>
                  </a:lnTo>
                  <a:lnTo>
                    <a:pt x="1996" y="1848"/>
                  </a:lnTo>
                  <a:lnTo>
                    <a:pt x="2022" y="1836"/>
                  </a:lnTo>
                  <a:lnTo>
                    <a:pt x="2051" y="1848"/>
                  </a:lnTo>
                  <a:lnTo>
                    <a:pt x="2051" y="1820"/>
                  </a:lnTo>
                  <a:lnTo>
                    <a:pt x="2069" y="1794"/>
                  </a:lnTo>
                  <a:lnTo>
                    <a:pt x="2094" y="1776"/>
                  </a:lnTo>
                  <a:lnTo>
                    <a:pt x="2105" y="1749"/>
                  </a:lnTo>
                  <a:lnTo>
                    <a:pt x="2133" y="1742"/>
                  </a:lnTo>
                  <a:lnTo>
                    <a:pt x="2154" y="1714"/>
                  </a:lnTo>
                  <a:lnTo>
                    <a:pt x="2161" y="1687"/>
                  </a:lnTo>
                  <a:lnTo>
                    <a:pt x="2170" y="1659"/>
                  </a:lnTo>
                  <a:lnTo>
                    <a:pt x="2166" y="1634"/>
                  </a:lnTo>
                  <a:lnTo>
                    <a:pt x="2164" y="1608"/>
                  </a:lnTo>
                  <a:lnTo>
                    <a:pt x="2157" y="1581"/>
                  </a:lnTo>
                  <a:lnTo>
                    <a:pt x="2182" y="1571"/>
                  </a:lnTo>
                  <a:lnTo>
                    <a:pt x="2180" y="1546"/>
                  </a:lnTo>
                  <a:lnTo>
                    <a:pt x="2159" y="1532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2" name="Freeform 10"/>
            <p:cNvSpPr>
              <a:spLocks noEditPoints="1"/>
            </p:cNvSpPr>
            <p:nvPr/>
          </p:nvSpPr>
          <p:spPr bwMode="auto">
            <a:xfrm>
              <a:off x="5002935" y="2851760"/>
              <a:ext cx="504474" cy="1139474"/>
            </a:xfrm>
            <a:custGeom>
              <a:avLst/>
              <a:gdLst>
                <a:gd name="T0" fmla="*/ 2147483647 w 859"/>
                <a:gd name="T1" fmla="*/ 2147483647 h 1936"/>
                <a:gd name="T2" fmla="*/ 2147483647 w 859"/>
                <a:gd name="T3" fmla="*/ 2147483647 h 1936"/>
                <a:gd name="T4" fmla="*/ 2147483647 w 859"/>
                <a:gd name="T5" fmla="*/ 2147483647 h 1936"/>
                <a:gd name="T6" fmla="*/ 2147483647 w 859"/>
                <a:gd name="T7" fmla="*/ 2147483647 h 1936"/>
                <a:gd name="T8" fmla="*/ 2147483647 w 859"/>
                <a:gd name="T9" fmla="*/ 2147483647 h 1936"/>
                <a:gd name="T10" fmla="*/ 2147483647 w 859"/>
                <a:gd name="T11" fmla="*/ 2147483647 h 1936"/>
                <a:gd name="T12" fmla="*/ 2147483647 w 859"/>
                <a:gd name="T13" fmla="*/ 2147483647 h 1936"/>
                <a:gd name="T14" fmla="*/ 2147483647 w 859"/>
                <a:gd name="T15" fmla="*/ 2147483647 h 1936"/>
                <a:gd name="T16" fmla="*/ 2147483647 w 859"/>
                <a:gd name="T17" fmla="*/ 2147483647 h 1936"/>
                <a:gd name="T18" fmla="*/ 2147483647 w 859"/>
                <a:gd name="T19" fmla="*/ 2147483647 h 1936"/>
                <a:gd name="T20" fmla="*/ 0 w 859"/>
                <a:gd name="T21" fmla="*/ 2147483647 h 1936"/>
                <a:gd name="T22" fmla="*/ 2147483647 w 859"/>
                <a:gd name="T23" fmla="*/ 2147483647 h 1936"/>
                <a:gd name="T24" fmla="*/ 2147483647 w 859"/>
                <a:gd name="T25" fmla="*/ 2147483647 h 1936"/>
                <a:gd name="T26" fmla="*/ 2147483647 w 859"/>
                <a:gd name="T27" fmla="*/ 2147483647 h 1936"/>
                <a:gd name="T28" fmla="*/ 2147483647 w 859"/>
                <a:gd name="T29" fmla="*/ 2147483647 h 1936"/>
                <a:gd name="T30" fmla="*/ 2147483647 w 859"/>
                <a:gd name="T31" fmla="*/ 2147483647 h 1936"/>
                <a:gd name="T32" fmla="*/ 2147483647 w 859"/>
                <a:gd name="T33" fmla="*/ 2147483647 h 1936"/>
                <a:gd name="T34" fmla="*/ 2147483647 w 859"/>
                <a:gd name="T35" fmla="*/ 2147483647 h 1936"/>
                <a:gd name="T36" fmla="*/ 2147483647 w 859"/>
                <a:gd name="T37" fmla="*/ 2147483647 h 1936"/>
                <a:gd name="T38" fmla="*/ 2147483647 w 859"/>
                <a:gd name="T39" fmla="*/ 2147483647 h 1936"/>
                <a:gd name="T40" fmla="*/ 2147483647 w 859"/>
                <a:gd name="T41" fmla="*/ 2147483647 h 1936"/>
                <a:gd name="T42" fmla="*/ 2147483647 w 859"/>
                <a:gd name="T43" fmla="*/ 2147483647 h 1936"/>
                <a:gd name="T44" fmla="*/ 2147483647 w 859"/>
                <a:gd name="T45" fmla="*/ 2147483647 h 1936"/>
                <a:gd name="T46" fmla="*/ 2147483647 w 859"/>
                <a:gd name="T47" fmla="*/ 2147483647 h 1936"/>
                <a:gd name="T48" fmla="*/ 2147483647 w 859"/>
                <a:gd name="T49" fmla="*/ 2147483647 h 1936"/>
                <a:gd name="T50" fmla="*/ 2147483647 w 859"/>
                <a:gd name="T51" fmla="*/ 2147483647 h 1936"/>
                <a:gd name="T52" fmla="*/ 2147483647 w 859"/>
                <a:gd name="T53" fmla="*/ 2147483647 h 1936"/>
                <a:gd name="T54" fmla="*/ 2147483647 w 859"/>
                <a:gd name="T55" fmla="*/ 2147483647 h 1936"/>
                <a:gd name="T56" fmla="*/ 2147483647 w 859"/>
                <a:gd name="T57" fmla="*/ 2147483647 h 1936"/>
                <a:gd name="T58" fmla="*/ 2147483647 w 859"/>
                <a:gd name="T59" fmla="*/ 2147483647 h 1936"/>
                <a:gd name="T60" fmla="*/ 2147483647 w 859"/>
                <a:gd name="T61" fmla="*/ 2147483647 h 1936"/>
                <a:gd name="T62" fmla="*/ 2147483647 w 859"/>
                <a:gd name="T63" fmla="*/ 2147483647 h 1936"/>
                <a:gd name="T64" fmla="*/ 2147483647 w 859"/>
                <a:gd name="T65" fmla="*/ 2147483647 h 1936"/>
                <a:gd name="T66" fmla="*/ 2147483647 w 859"/>
                <a:gd name="T67" fmla="*/ 2147483647 h 1936"/>
                <a:gd name="T68" fmla="*/ 2147483647 w 859"/>
                <a:gd name="T69" fmla="*/ 2147483647 h 1936"/>
                <a:gd name="T70" fmla="*/ 2147483647 w 859"/>
                <a:gd name="T71" fmla="*/ 2147483647 h 1936"/>
                <a:gd name="T72" fmla="*/ 2147483647 w 859"/>
                <a:gd name="T73" fmla="*/ 2147483647 h 1936"/>
                <a:gd name="T74" fmla="*/ 2147483647 w 859"/>
                <a:gd name="T75" fmla="*/ 2147483647 h 1936"/>
                <a:gd name="T76" fmla="*/ 2147483647 w 859"/>
                <a:gd name="T77" fmla="*/ 2147483647 h 1936"/>
                <a:gd name="T78" fmla="*/ 2147483647 w 859"/>
                <a:gd name="T79" fmla="*/ 2147483647 h 1936"/>
                <a:gd name="T80" fmla="*/ 2147483647 w 859"/>
                <a:gd name="T81" fmla="*/ 2147483647 h 1936"/>
                <a:gd name="T82" fmla="*/ 2147483647 w 859"/>
                <a:gd name="T83" fmla="*/ 2147483647 h 1936"/>
                <a:gd name="T84" fmla="*/ 2147483647 w 859"/>
                <a:gd name="T85" fmla="*/ 2147483647 h 1936"/>
                <a:gd name="T86" fmla="*/ 2147483647 w 859"/>
                <a:gd name="T87" fmla="*/ 2147483647 h 1936"/>
                <a:gd name="T88" fmla="*/ 2147483647 w 859"/>
                <a:gd name="T89" fmla="*/ 2147483647 h 1936"/>
                <a:gd name="T90" fmla="*/ 2147483647 w 859"/>
                <a:gd name="T91" fmla="*/ 2147483647 h 1936"/>
                <a:gd name="T92" fmla="*/ 2147483647 w 859"/>
                <a:gd name="T93" fmla="*/ 2147483647 h 1936"/>
                <a:gd name="T94" fmla="*/ 2147483647 w 859"/>
                <a:gd name="T95" fmla="*/ 2147483647 h 1936"/>
                <a:gd name="T96" fmla="*/ 2147483647 w 859"/>
                <a:gd name="T97" fmla="*/ 2147483647 h 1936"/>
                <a:gd name="T98" fmla="*/ 2147483647 w 859"/>
                <a:gd name="T99" fmla="*/ 2147483647 h 1936"/>
                <a:gd name="T100" fmla="*/ 2147483647 w 859"/>
                <a:gd name="T101" fmla="*/ 2147483647 h 1936"/>
                <a:gd name="T102" fmla="*/ 2147483647 w 859"/>
                <a:gd name="T103" fmla="*/ 2147483647 h 1936"/>
                <a:gd name="T104" fmla="*/ 2147483647 w 859"/>
                <a:gd name="T105" fmla="*/ 2147483647 h 1936"/>
                <a:gd name="T106" fmla="*/ 2147483647 w 859"/>
                <a:gd name="T107" fmla="*/ 2147483647 h 1936"/>
                <a:gd name="T108" fmla="*/ 2147483647 w 859"/>
                <a:gd name="T109" fmla="*/ 2147483647 h 1936"/>
                <a:gd name="T110" fmla="*/ 2147483647 w 859"/>
                <a:gd name="T111" fmla="*/ 2147483647 h 1936"/>
                <a:gd name="T112" fmla="*/ 2147483647 w 859"/>
                <a:gd name="T113" fmla="*/ 2147483647 h 1936"/>
                <a:gd name="T114" fmla="*/ 2147483647 w 859"/>
                <a:gd name="T115" fmla="*/ 2147483647 h 1936"/>
                <a:gd name="T116" fmla="*/ 2147483647 w 859"/>
                <a:gd name="T117" fmla="*/ 2147483647 h 19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59" h="1936">
                  <a:moveTo>
                    <a:pt x="524" y="1913"/>
                  </a:moveTo>
                  <a:lnTo>
                    <a:pt x="550" y="1916"/>
                  </a:lnTo>
                  <a:lnTo>
                    <a:pt x="575" y="1918"/>
                  </a:lnTo>
                  <a:lnTo>
                    <a:pt x="604" y="1923"/>
                  </a:lnTo>
                  <a:lnTo>
                    <a:pt x="575" y="1936"/>
                  </a:lnTo>
                  <a:lnTo>
                    <a:pt x="550" y="1925"/>
                  </a:lnTo>
                  <a:lnTo>
                    <a:pt x="521" y="1925"/>
                  </a:lnTo>
                  <a:lnTo>
                    <a:pt x="524" y="1913"/>
                  </a:lnTo>
                  <a:close/>
                  <a:moveTo>
                    <a:pt x="165" y="32"/>
                  </a:moveTo>
                  <a:lnTo>
                    <a:pt x="166" y="53"/>
                  </a:lnTo>
                  <a:lnTo>
                    <a:pt x="171" y="87"/>
                  </a:lnTo>
                  <a:lnTo>
                    <a:pt x="174" y="109"/>
                  </a:lnTo>
                  <a:lnTo>
                    <a:pt x="180" y="131"/>
                  </a:lnTo>
                  <a:lnTo>
                    <a:pt x="186" y="153"/>
                  </a:lnTo>
                  <a:lnTo>
                    <a:pt x="193" y="175"/>
                  </a:lnTo>
                  <a:lnTo>
                    <a:pt x="198" y="186"/>
                  </a:lnTo>
                  <a:lnTo>
                    <a:pt x="201" y="200"/>
                  </a:lnTo>
                  <a:lnTo>
                    <a:pt x="204" y="212"/>
                  </a:lnTo>
                  <a:lnTo>
                    <a:pt x="205" y="225"/>
                  </a:lnTo>
                  <a:lnTo>
                    <a:pt x="207" y="251"/>
                  </a:lnTo>
                  <a:lnTo>
                    <a:pt x="206" y="277"/>
                  </a:lnTo>
                  <a:lnTo>
                    <a:pt x="202" y="314"/>
                  </a:lnTo>
                  <a:lnTo>
                    <a:pt x="200" y="330"/>
                  </a:lnTo>
                  <a:lnTo>
                    <a:pt x="181" y="331"/>
                  </a:lnTo>
                  <a:lnTo>
                    <a:pt x="139" y="334"/>
                  </a:lnTo>
                  <a:lnTo>
                    <a:pt x="116" y="335"/>
                  </a:lnTo>
                  <a:lnTo>
                    <a:pt x="94" y="335"/>
                  </a:lnTo>
                  <a:lnTo>
                    <a:pt x="77" y="335"/>
                  </a:lnTo>
                  <a:lnTo>
                    <a:pt x="66" y="333"/>
                  </a:lnTo>
                  <a:lnTo>
                    <a:pt x="65" y="333"/>
                  </a:lnTo>
                  <a:lnTo>
                    <a:pt x="63" y="334"/>
                  </a:lnTo>
                  <a:lnTo>
                    <a:pt x="62" y="336"/>
                  </a:lnTo>
                  <a:lnTo>
                    <a:pt x="61" y="338"/>
                  </a:lnTo>
                  <a:lnTo>
                    <a:pt x="60" y="346"/>
                  </a:lnTo>
                  <a:lnTo>
                    <a:pt x="59" y="356"/>
                  </a:lnTo>
                  <a:lnTo>
                    <a:pt x="57" y="383"/>
                  </a:lnTo>
                  <a:lnTo>
                    <a:pt x="57" y="413"/>
                  </a:lnTo>
                  <a:lnTo>
                    <a:pt x="58" y="445"/>
                  </a:lnTo>
                  <a:lnTo>
                    <a:pt x="59" y="472"/>
                  </a:lnTo>
                  <a:lnTo>
                    <a:pt x="60" y="491"/>
                  </a:lnTo>
                  <a:lnTo>
                    <a:pt x="60" y="498"/>
                  </a:lnTo>
                  <a:lnTo>
                    <a:pt x="8" y="550"/>
                  </a:lnTo>
                  <a:lnTo>
                    <a:pt x="3" y="553"/>
                  </a:lnTo>
                  <a:lnTo>
                    <a:pt x="0" y="557"/>
                  </a:lnTo>
                  <a:lnTo>
                    <a:pt x="4" y="556"/>
                  </a:lnTo>
                  <a:lnTo>
                    <a:pt x="30" y="570"/>
                  </a:lnTo>
                  <a:lnTo>
                    <a:pt x="58" y="595"/>
                  </a:lnTo>
                  <a:lnTo>
                    <a:pt x="45" y="621"/>
                  </a:lnTo>
                  <a:lnTo>
                    <a:pt x="35" y="647"/>
                  </a:lnTo>
                  <a:lnTo>
                    <a:pt x="38" y="655"/>
                  </a:lnTo>
                  <a:lnTo>
                    <a:pt x="53" y="683"/>
                  </a:lnTo>
                  <a:lnTo>
                    <a:pt x="79" y="734"/>
                  </a:lnTo>
                  <a:lnTo>
                    <a:pt x="97" y="763"/>
                  </a:lnTo>
                  <a:lnTo>
                    <a:pt x="89" y="789"/>
                  </a:lnTo>
                  <a:lnTo>
                    <a:pt x="100" y="815"/>
                  </a:lnTo>
                  <a:lnTo>
                    <a:pt x="89" y="844"/>
                  </a:lnTo>
                  <a:lnTo>
                    <a:pt x="97" y="870"/>
                  </a:lnTo>
                  <a:lnTo>
                    <a:pt x="92" y="898"/>
                  </a:lnTo>
                  <a:lnTo>
                    <a:pt x="89" y="923"/>
                  </a:lnTo>
                  <a:lnTo>
                    <a:pt x="86" y="950"/>
                  </a:lnTo>
                  <a:lnTo>
                    <a:pt x="74" y="978"/>
                  </a:lnTo>
                  <a:lnTo>
                    <a:pt x="61" y="1004"/>
                  </a:lnTo>
                  <a:lnTo>
                    <a:pt x="53" y="1033"/>
                  </a:lnTo>
                  <a:lnTo>
                    <a:pt x="61" y="1059"/>
                  </a:lnTo>
                  <a:lnTo>
                    <a:pt x="58" y="1087"/>
                  </a:lnTo>
                  <a:lnTo>
                    <a:pt x="45" y="1112"/>
                  </a:lnTo>
                  <a:lnTo>
                    <a:pt x="40" y="1118"/>
                  </a:lnTo>
                  <a:lnTo>
                    <a:pt x="33" y="1144"/>
                  </a:lnTo>
                  <a:lnTo>
                    <a:pt x="12" y="1170"/>
                  </a:lnTo>
                  <a:lnTo>
                    <a:pt x="10" y="1188"/>
                  </a:lnTo>
                  <a:lnTo>
                    <a:pt x="6" y="1214"/>
                  </a:lnTo>
                  <a:lnTo>
                    <a:pt x="4" y="1240"/>
                  </a:lnTo>
                  <a:lnTo>
                    <a:pt x="12" y="1266"/>
                  </a:lnTo>
                  <a:lnTo>
                    <a:pt x="30" y="1294"/>
                  </a:lnTo>
                  <a:lnTo>
                    <a:pt x="35" y="1320"/>
                  </a:lnTo>
                  <a:lnTo>
                    <a:pt x="61" y="1315"/>
                  </a:lnTo>
                  <a:lnTo>
                    <a:pt x="74" y="1340"/>
                  </a:lnTo>
                  <a:lnTo>
                    <a:pt x="100" y="1330"/>
                  </a:lnTo>
                  <a:lnTo>
                    <a:pt x="128" y="1356"/>
                  </a:lnTo>
                  <a:lnTo>
                    <a:pt x="154" y="1359"/>
                  </a:lnTo>
                  <a:lnTo>
                    <a:pt x="178" y="1333"/>
                  </a:lnTo>
                  <a:lnTo>
                    <a:pt x="203" y="1307"/>
                  </a:lnTo>
                  <a:lnTo>
                    <a:pt x="229" y="1312"/>
                  </a:lnTo>
                  <a:lnTo>
                    <a:pt x="232" y="1312"/>
                  </a:lnTo>
                  <a:lnTo>
                    <a:pt x="257" y="1317"/>
                  </a:lnTo>
                  <a:lnTo>
                    <a:pt x="286" y="1312"/>
                  </a:lnTo>
                  <a:lnTo>
                    <a:pt x="312" y="1299"/>
                  </a:lnTo>
                  <a:lnTo>
                    <a:pt x="340" y="1292"/>
                  </a:lnTo>
                  <a:lnTo>
                    <a:pt x="367" y="1315"/>
                  </a:lnTo>
                  <a:lnTo>
                    <a:pt x="392" y="1322"/>
                  </a:lnTo>
                  <a:lnTo>
                    <a:pt x="381" y="1294"/>
                  </a:lnTo>
                  <a:lnTo>
                    <a:pt x="377" y="1268"/>
                  </a:lnTo>
                  <a:lnTo>
                    <a:pt x="367" y="1240"/>
                  </a:lnTo>
                  <a:lnTo>
                    <a:pt x="351" y="1214"/>
                  </a:lnTo>
                  <a:lnTo>
                    <a:pt x="340" y="1188"/>
                  </a:lnTo>
                  <a:lnTo>
                    <a:pt x="325" y="1160"/>
                  </a:lnTo>
                  <a:lnTo>
                    <a:pt x="333" y="1133"/>
                  </a:lnTo>
                  <a:lnTo>
                    <a:pt x="338" y="1107"/>
                  </a:lnTo>
                  <a:lnTo>
                    <a:pt x="340" y="1079"/>
                  </a:lnTo>
                  <a:lnTo>
                    <a:pt x="342" y="1054"/>
                  </a:lnTo>
                  <a:lnTo>
                    <a:pt x="369" y="1040"/>
                  </a:lnTo>
                  <a:lnTo>
                    <a:pt x="372" y="1015"/>
                  </a:lnTo>
                  <a:lnTo>
                    <a:pt x="386" y="989"/>
                  </a:lnTo>
                  <a:lnTo>
                    <a:pt x="372" y="960"/>
                  </a:lnTo>
                  <a:lnTo>
                    <a:pt x="369" y="932"/>
                  </a:lnTo>
                  <a:lnTo>
                    <a:pt x="361" y="906"/>
                  </a:lnTo>
                  <a:lnTo>
                    <a:pt x="367" y="877"/>
                  </a:lnTo>
                  <a:lnTo>
                    <a:pt x="369" y="867"/>
                  </a:lnTo>
                  <a:lnTo>
                    <a:pt x="361" y="838"/>
                  </a:lnTo>
                  <a:lnTo>
                    <a:pt x="367" y="812"/>
                  </a:lnTo>
                  <a:lnTo>
                    <a:pt x="353" y="784"/>
                  </a:lnTo>
                  <a:lnTo>
                    <a:pt x="353" y="732"/>
                  </a:lnTo>
                  <a:lnTo>
                    <a:pt x="361" y="706"/>
                  </a:lnTo>
                  <a:lnTo>
                    <a:pt x="377" y="678"/>
                  </a:lnTo>
                  <a:lnTo>
                    <a:pt x="386" y="652"/>
                  </a:lnTo>
                  <a:lnTo>
                    <a:pt x="379" y="623"/>
                  </a:lnTo>
                  <a:lnTo>
                    <a:pt x="374" y="598"/>
                  </a:lnTo>
                  <a:lnTo>
                    <a:pt x="372" y="572"/>
                  </a:lnTo>
                  <a:lnTo>
                    <a:pt x="372" y="517"/>
                  </a:lnTo>
                  <a:lnTo>
                    <a:pt x="379" y="492"/>
                  </a:lnTo>
                  <a:lnTo>
                    <a:pt x="351" y="469"/>
                  </a:lnTo>
                  <a:lnTo>
                    <a:pt x="325" y="453"/>
                  </a:lnTo>
                  <a:lnTo>
                    <a:pt x="325" y="427"/>
                  </a:lnTo>
                  <a:lnTo>
                    <a:pt x="312" y="400"/>
                  </a:lnTo>
                  <a:lnTo>
                    <a:pt x="325" y="375"/>
                  </a:lnTo>
                  <a:lnTo>
                    <a:pt x="351" y="356"/>
                  </a:lnTo>
                  <a:lnTo>
                    <a:pt x="377" y="342"/>
                  </a:lnTo>
                  <a:lnTo>
                    <a:pt x="405" y="323"/>
                  </a:lnTo>
                  <a:lnTo>
                    <a:pt x="431" y="300"/>
                  </a:lnTo>
                  <a:lnTo>
                    <a:pt x="457" y="284"/>
                  </a:lnTo>
                  <a:lnTo>
                    <a:pt x="485" y="271"/>
                  </a:lnTo>
                  <a:lnTo>
                    <a:pt x="511" y="266"/>
                  </a:lnTo>
                  <a:lnTo>
                    <a:pt x="540" y="274"/>
                  </a:lnTo>
                  <a:lnTo>
                    <a:pt x="565" y="280"/>
                  </a:lnTo>
                  <a:lnTo>
                    <a:pt x="594" y="289"/>
                  </a:lnTo>
                  <a:lnTo>
                    <a:pt x="604" y="317"/>
                  </a:lnTo>
                  <a:lnTo>
                    <a:pt x="598" y="344"/>
                  </a:lnTo>
                  <a:lnTo>
                    <a:pt x="610" y="366"/>
                  </a:lnTo>
                  <a:lnTo>
                    <a:pt x="615" y="365"/>
                  </a:lnTo>
                  <a:lnTo>
                    <a:pt x="615" y="364"/>
                  </a:lnTo>
                  <a:lnTo>
                    <a:pt x="616" y="363"/>
                  </a:lnTo>
                  <a:lnTo>
                    <a:pt x="619" y="362"/>
                  </a:lnTo>
                  <a:lnTo>
                    <a:pt x="626" y="362"/>
                  </a:lnTo>
                  <a:lnTo>
                    <a:pt x="635" y="363"/>
                  </a:lnTo>
                  <a:lnTo>
                    <a:pt x="650" y="366"/>
                  </a:lnTo>
                  <a:lnTo>
                    <a:pt x="671" y="372"/>
                  </a:lnTo>
                  <a:lnTo>
                    <a:pt x="698" y="380"/>
                  </a:lnTo>
                  <a:lnTo>
                    <a:pt x="718" y="387"/>
                  </a:lnTo>
                  <a:lnTo>
                    <a:pt x="734" y="390"/>
                  </a:lnTo>
                  <a:lnTo>
                    <a:pt x="748" y="392"/>
                  </a:lnTo>
                  <a:lnTo>
                    <a:pt x="760" y="392"/>
                  </a:lnTo>
                  <a:lnTo>
                    <a:pt x="780" y="390"/>
                  </a:lnTo>
                  <a:lnTo>
                    <a:pt x="801" y="389"/>
                  </a:lnTo>
                  <a:lnTo>
                    <a:pt x="801" y="388"/>
                  </a:lnTo>
                  <a:lnTo>
                    <a:pt x="802" y="387"/>
                  </a:lnTo>
                  <a:lnTo>
                    <a:pt x="807" y="379"/>
                  </a:lnTo>
                  <a:lnTo>
                    <a:pt x="821" y="366"/>
                  </a:lnTo>
                  <a:lnTo>
                    <a:pt x="847" y="343"/>
                  </a:lnTo>
                  <a:lnTo>
                    <a:pt x="851" y="340"/>
                  </a:lnTo>
                  <a:lnTo>
                    <a:pt x="854" y="335"/>
                  </a:lnTo>
                  <a:lnTo>
                    <a:pt x="856" y="332"/>
                  </a:lnTo>
                  <a:lnTo>
                    <a:pt x="858" y="328"/>
                  </a:lnTo>
                  <a:lnTo>
                    <a:pt x="859" y="325"/>
                  </a:lnTo>
                  <a:lnTo>
                    <a:pt x="859" y="321"/>
                  </a:lnTo>
                  <a:lnTo>
                    <a:pt x="858" y="317"/>
                  </a:lnTo>
                  <a:lnTo>
                    <a:pt x="857" y="314"/>
                  </a:lnTo>
                  <a:lnTo>
                    <a:pt x="854" y="307"/>
                  </a:lnTo>
                  <a:lnTo>
                    <a:pt x="848" y="300"/>
                  </a:lnTo>
                  <a:lnTo>
                    <a:pt x="842" y="293"/>
                  </a:lnTo>
                  <a:lnTo>
                    <a:pt x="836" y="287"/>
                  </a:lnTo>
                  <a:lnTo>
                    <a:pt x="820" y="277"/>
                  </a:lnTo>
                  <a:lnTo>
                    <a:pt x="805" y="268"/>
                  </a:lnTo>
                  <a:lnTo>
                    <a:pt x="795" y="262"/>
                  </a:lnTo>
                  <a:lnTo>
                    <a:pt x="791" y="260"/>
                  </a:lnTo>
                  <a:lnTo>
                    <a:pt x="785" y="257"/>
                  </a:lnTo>
                  <a:lnTo>
                    <a:pt x="770" y="248"/>
                  </a:lnTo>
                  <a:lnTo>
                    <a:pt x="748" y="237"/>
                  </a:lnTo>
                  <a:lnTo>
                    <a:pt x="718" y="221"/>
                  </a:lnTo>
                  <a:lnTo>
                    <a:pt x="683" y="205"/>
                  </a:lnTo>
                  <a:lnTo>
                    <a:pt x="646" y="190"/>
                  </a:lnTo>
                  <a:lnTo>
                    <a:pt x="626" y="184"/>
                  </a:lnTo>
                  <a:lnTo>
                    <a:pt x="606" y="178"/>
                  </a:lnTo>
                  <a:lnTo>
                    <a:pt x="585" y="173"/>
                  </a:lnTo>
                  <a:lnTo>
                    <a:pt x="565" y="168"/>
                  </a:lnTo>
                  <a:lnTo>
                    <a:pt x="554" y="166"/>
                  </a:lnTo>
                  <a:lnTo>
                    <a:pt x="545" y="163"/>
                  </a:lnTo>
                  <a:lnTo>
                    <a:pt x="535" y="160"/>
                  </a:lnTo>
                  <a:lnTo>
                    <a:pt x="527" y="157"/>
                  </a:lnTo>
                  <a:lnTo>
                    <a:pt x="509" y="148"/>
                  </a:lnTo>
                  <a:lnTo>
                    <a:pt x="494" y="139"/>
                  </a:lnTo>
                  <a:lnTo>
                    <a:pt x="479" y="128"/>
                  </a:lnTo>
                  <a:lnTo>
                    <a:pt x="465" y="117"/>
                  </a:lnTo>
                  <a:lnTo>
                    <a:pt x="453" y="105"/>
                  </a:lnTo>
                  <a:lnTo>
                    <a:pt x="441" y="93"/>
                  </a:lnTo>
                  <a:lnTo>
                    <a:pt x="419" y="68"/>
                  </a:lnTo>
                  <a:lnTo>
                    <a:pt x="401" y="43"/>
                  </a:lnTo>
                  <a:lnTo>
                    <a:pt x="393" y="33"/>
                  </a:lnTo>
                  <a:lnTo>
                    <a:pt x="385" y="23"/>
                  </a:lnTo>
                  <a:lnTo>
                    <a:pt x="378" y="16"/>
                  </a:lnTo>
                  <a:lnTo>
                    <a:pt x="371" y="10"/>
                  </a:lnTo>
                  <a:lnTo>
                    <a:pt x="368" y="7"/>
                  </a:lnTo>
                  <a:lnTo>
                    <a:pt x="363" y="5"/>
                  </a:lnTo>
                  <a:lnTo>
                    <a:pt x="358" y="3"/>
                  </a:lnTo>
                  <a:lnTo>
                    <a:pt x="353" y="2"/>
                  </a:lnTo>
                  <a:lnTo>
                    <a:pt x="340" y="0"/>
                  </a:lnTo>
                  <a:lnTo>
                    <a:pt x="326" y="0"/>
                  </a:lnTo>
                  <a:lnTo>
                    <a:pt x="309" y="1"/>
                  </a:lnTo>
                  <a:lnTo>
                    <a:pt x="292" y="3"/>
                  </a:lnTo>
                  <a:lnTo>
                    <a:pt x="275" y="7"/>
                  </a:lnTo>
                  <a:lnTo>
                    <a:pt x="257" y="9"/>
                  </a:lnTo>
                  <a:lnTo>
                    <a:pt x="224" y="16"/>
                  </a:lnTo>
                  <a:lnTo>
                    <a:pt x="194" y="23"/>
                  </a:lnTo>
                  <a:lnTo>
                    <a:pt x="174" y="29"/>
                  </a:lnTo>
                  <a:lnTo>
                    <a:pt x="165" y="32"/>
                  </a:lnTo>
                  <a:close/>
                  <a:moveTo>
                    <a:pt x="405" y="1388"/>
                  </a:moveTo>
                  <a:lnTo>
                    <a:pt x="413" y="1413"/>
                  </a:lnTo>
                  <a:lnTo>
                    <a:pt x="420" y="1439"/>
                  </a:lnTo>
                  <a:lnTo>
                    <a:pt x="428" y="1467"/>
                  </a:lnTo>
                  <a:lnTo>
                    <a:pt x="425" y="1494"/>
                  </a:lnTo>
                  <a:lnTo>
                    <a:pt x="418" y="1522"/>
                  </a:lnTo>
                  <a:lnTo>
                    <a:pt x="418" y="1548"/>
                  </a:lnTo>
                  <a:lnTo>
                    <a:pt x="413" y="1577"/>
                  </a:lnTo>
                  <a:lnTo>
                    <a:pt x="405" y="1602"/>
                  </a:lnTo>
                  <a:lnTo>
                    <a:pt x="402" y="1628"/>
                  </a:lnTo>
                  <a:lnTo>
                    <a:pt x="392" y="1602"/>
                  </a:lnTo>
                  <a:lnTo>
                    <a:pt x="397" y="1577"/>
                  </a:lnTo>
                  <a:lnTo>
                    <a:pt x="384" y="1548"/>
                  </a:lnTo>
                  <a:lnTo>
                    <a:pt x="384" y="1522"/>
                  </a:lnTo>
                  <a:lnTo>
                    <a:pt x="390" y="1496"/>
                  </a:lnTo>
                  <a:lnTo>
                    <a:pt x="384" y="1471"/>
                  </a:lnTo>
                  <a:lnTo>
                    <a:pt x="386" y="1441"/>
                  </a:lnTo>
                  <a:lnTo>
                    <a:pt x="386" y="1416"/>
                  </a:lnTo>
                  <a:lnTo>
                    <a:pt x="392" y="1390"/>
                  </a:lnTo>
                  <a:lnTo>
                    <a:pt x="405" y="1388"/>
                  </a:lnTo>
                  <a:close/>
                  <a:moveTo>
                    <a:pt x="462" y="1824"/>
                  </a:moveTo>
                  <a:lnTo>
                    <a:pt x="487" y="1843"/>
                  </a:lnTo>
                  <a:lnTo>
                    <a:pt x="469" y="1869"/>
                  </a:lnTo>
                  <a:lnTo>
                    <a:pt x="452" y="1843"/>
                  </a:lnTo>
                  <a:lnTo>
                    <a:pt x="462" y="1824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3" name="Freeform 11"/>
            <p:cNvSpPr>
              <a:spLocks noEditPoints="1"/>
            </p:cNvSpPr>
            <p:nvPr/>
          </p:nvSpPr>
          <p:spPr bwMode="auto">
            <a:xfrm>
              <a:off x="4276211" y="4148222"/>
              <a:ext cx="689684" cy="213431"/>
            </a:xfrm>
            <a:custGeom>
              <a:avLst/>
              <a:gdLst>
                <a:gd name="T0" fmla="*/ 2147483647 w 1173"/>
                <a:gd name="T1" fmla="*/ 2147483647 h 365"/>
                <a:gd name="T2" fmla="*/ 2147483647 w 1173"/>
                <a:gd name="T3" fmla="*/ 2147483647 h 365"/>
                <a:gd name="T4" fmla="*/ 2147483647 w 1173"/>
                <a:gd name="T5" fmla="*/ 2147483647 h 365"/>
                <a:gd name="T6" fmla="*/ 2147483647 w 1173"/>
                <a:gd name="T7" fmla="*/ 2147483647 h 365"/>
                <a:gd name="T8" fmla="*/ 2147483647 w 1173"/>
                <a:gd name="T9" fmla="*/ 2147483647 h 365"/>
                <a:gd name="T10" fmla="*/ 2147483647 w 1173"/>
                <a:gd name="T11" fmla="*/ 2147483647 h 365"/>
                <a:gd name="T12" fmla="*/ 2147483647 w 1173"/>
                <a:gd name="T13" fmla="*/ 2147483647 h 365"/>
                <a:gd name="T14" fmla="*/ 2147483647 w 1173"/>
                <a:gd name="T15" fmla="*/ 2147483647 h 365"/>
                <a:gd name="T16" fmla="*/ 2147483647 w 1173"/>
                <a:gd name="T17" fmla="*/ 2147483647 h 365"/>
                <a:gd name="T18" fmla="*/ 2147483647 w 1173"/>
                <a:gd name="T19" fmla="*/ 2147483647 h 365"/>
                <a:gd name="T20" fmla="*/ 2147483647 w 1173"/>
                <a:gd name="T21" fmla="*/ 2147483647 h 365"/>
                <a:gd name="T22" fmla="*/ 2147483647 w 1173"/>
                <a:gd name="T23" fmla="*/ 2147483647 h 365"/>
                <a:gd name="T24" fmla="*/ 2147483647 w 1173"/>
                <a:gd name="T25" fmla="*/ 2147483647 h 365"/>
                <a:gd name="T26" fmla="*/ 2147483647 w 1173"/>
                <a:gd name="T27" fmla="*/ 2147483647 h 365"/>
                <a:gd name="T28" fmla="*/ 2147483647 w 1173"/>
                <a:gd name="T29" fmla="*/ 2147483647 h 365"/>
                <a:gd name="T30" fmla="*/ 2147483647 w 1173"/>
                <a:gd name="T31" fmla="*/ 2147483647 h 365"/>
                <a:gd name="T32" fmla="*/ 2147483647 w 1173"/>
                <a:gd name="T33" fmla="*/ 2147483647 h 365"/>
                <a:gd name="T34" fmla="*/ 2147483647 w 1173"/>
                <a:gd name="T35" fmla="*/ 2147483647 h 365"/>
                <a:gd name="T36" fmla="*/ 2147483647 w 1173"/>
                <a:gd name="T37" fmla="*/ 2147483647 h 365"/>
                <a:gd name="T38" fmla="*/ 2147483647 w 1173"/>
                <a:gd name="T39" fmla="*/ 2147483647 h 365"/>
                <a:gd name="T40" fmla="*/ 2147483647 w 1173"/>
                <a:gd name="T41" fmla="*/ 2147483647 h 365"/>
                <a:gd name="T42" fmla="*/ 2147483647 w 1173"/>
                <a:gd name="T43" fmla="*/ 2147483647 h 365"/>
                <a:gd name="T44" fmla="*/ 2147483647 w 1173"/>
                <a:gd name="T45" fmla="*/ 2147483647 h 365"/>
                <a:gd name="T46" fmla="*/ 2147483647 w 1173"/>
                <a:gd name="T47" fmla="*/ 2147483647 h 365"/>
                <a:gd name="T48" fmla="*/ 2147483647 w 1173"/>
                <a:gd name="T49" fmla="*/ 2147483647 h 365"/>
                <a:gd name="T50" fmla="*/ 2147483647 w 1173"/>
                <a:gd name="T51" fmla="*/ 2147483647 h 365"/>
                <a:gd name="T52" fmla="*/ 2147483647 w 1173"/>
                <a:gd name="T53" fmla="*/ 2147483647 h 365"/>
                <a:gd name="T54" fmla="*/ 2147483647 w 1173"/>
                <a:gd name="T55" fmla="*/ 2147483647 h 365"/>
                <a:gd name="T56" fmla="*/ 2147483647 w 1173"/>
                <a:gd name="T57" fmla="*/ 2147483647 h 365"/>
                <a:gd name="T58" fmla="*/ 2147483647 w 1173"/>
                <a:gd name="T59" fmla="*/ 2147483647 h 365"/>
                <a:gd name="T60" fmla="*/ 2147483647 w 1173"/>
                <a:gd name="T61" fmla="*/ 2147483647 h 365"/>
                <a:gd name="T62" fmla="*/ 2147483647 w 1173"/>
                <a:gd name="T63" fmla="*/ 2147483647 h 365"/>
                <a:gd name="T64" fmla="*/ 2147483647 w 1173"/>
                <a:gd name="T65" fmla="*/ 0 h 365"/>
                <a:gd name="T66" fmla="*/ 2147483647 w 1173"/>
                <a:gd name="T67" fmla="*/ 2147483647 h 365"/>
                <a:gd name="T68" fmla="*/ 2147483647 w 1173"/>
                <a:gd name="T69" fmla="*/ 2147483647 h 365"/>
                <a:gd name="T70" fmla="*/ 2147483647 w 1173"/>
                <a:gd name="T71" fmla="*/ 2147483647 h 365"/>
                <a:gd name="T72" fmla="*/ 2147483647 w 1173"/>
                <a:gd name="T73" fmla="*/ 2147483647 h 365"/>
                <a:gd name="T74" fmla="*/ 2147483647 w 1173"/>
                <a:gd name="T75" fmla="*/ 2147483647 h 365"/>
                <a:gd name="T76" fmla="*/ 2147483647 w 1173"/>
                <a:gd name="T77" fmla="*/ 2147483647 h 365"/>
                <a:gd name="T78" fmla="*/ 2147483647 w 1173"/>
                <a:gd name="T79" fmla="*/ 2147483647 h 365"/>
                <a:gd name="T80" fmla="*/ 2147483647 w 1173"/>
                <a:gd name="T81" fmla="*/ 2147483647 h 365"/>
                <a:gd name="T82" fmla="*/ 2147483647 w 1173"/>
                <a:gd name="T83" fmla="*/ 2147483647 h 365"/>
                <a:gd name="T84" fmla="*/ 2147483647 w 1173"/>
                <a:gd name="T85" fmla="*/ 2147483647 h 365"/>
                <a:gd name="T86" fmla="*/ 2147483647 w 1173"/>
                <a:gd name="T87" fmla="*/ 2147483647 h 365"/>
                <a:gd name="T88" fmla="*/ 2147483647 w 1173"/>
                <a:gd name="T89" fmla="*/ 2147483647 h 365"/>
                <a:gd name="T90" fmla="*/ 2147483647 w 1173"/>
                <a:gd name="T91" fmla="*/ 2147483647 h 365"/>
                <a:gd name="T92" fmla="*/ 2147483647 w 1173"/>
                <a:gd name="T93" fmla="*/ 2147483647 h 365"/>
                <a:gd name="T94" fmla="*/ 2147483647 w 1173"/>
                <a:gd name="T95" fmla="*/ 2147483647 h 365"/>
                <a:gd name="T96" fmla="*/ 2147483647 w 1173"/>
                <a:gd name="T97" fmla="*/ 2147483647 h 365"/>
                <a:gd name="T98" fmla="*/ 2147483647 w 1173"/>
                <a:gd name="T99" fmla="*/ 2147483647 h 36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73" h="365">
                  <a:moveTo>
                    <a:pt x="597" y="109"/>
                  </a:moveTo>
                  <a:lnTo>
                    <a:pt x="583" y="82"/>
                  </a:lnTo>
                  <a:lnTo>
                    <a:pt x="576" y="56"/>
                  </a:lnTo>
                  <a:lnTo>
                    <a:pt x="592" y="28"/>
                  </a:lnTo>
                  <a:lnTo>
                    <a:pt x="618" y="26"/>
                  </a:lnTo>
                  <a:lnTo>
                    <a:pt x="646" y="26"/>
                  </a:lnTo>
                  <a:lnTo>
                    <a:pt x="631" y="51"/>
                  </a:lnTo>
                  <a:lnTo>
                    <a:pt x="618" y="77"/>
                  </a:lnTo>
                  <a:lnTo>
                    <a:pt x="602" y="106"/>
                  </a:lnTo>
                  <a:lnTo>
                    <a:pt x="597" y="109"/>
                  </a:lnTo>
                  <a:close/>
                  <a:moveTo>
                    <a:pt x="175" y="49"/>
                  </a:moveTo>
                  <a:lnTo>
                    <a:pt x="147" y="61"/>
                  </a:lnTo>
                  <a:lnTo>
                    <a:pt x="122" y="88"/>
                  </a:lnTo>
                  <a:lnTo>
                    <a:pt x="95" y="109"/>
                  </a:lnTo>
                  <a:lnTo>
                    <a:pt x="72" y="137"/>
                  </a:lnTo>
                  <a:lnTo>
                    <a:pt x="88" y="194"/>
                  </a:lnTo>
                  <a:lnTo>
                    <a:pt x="83" y="220"/>
                  </a:lnTo>
                  <a:lnTo>
                    <a:pt x="53" y="235"/>
                  </a:lnTo>
                  <a:lnTo>
                    <a:pt x="28" y="243"/>
                  </a:lnTo>
                  <a:lnTo>
                    <a:pt x="0" y="238"/>
                  </a:lnTo>
                  <a:lnTo>
                    <a:pt x="5" y="264"/>
                  </a:lnTo>
                  <a:lnTo>
                    <a:pt x="30" y="277"/>
                  </a:lnTo>
                  <a:lnTo>
                    <a:pt x="59" y="295"/>
                  </a:lnTo>
                  <a:lnTo>
                    <a:pt x="85" y="279"/>
                  </a:lnTo>
                  <a:lnTo>
                    <a:pt x="113" y="284"/>
                  </a:lnTo>
                  <a:lnTo>
                    <a:pt x="139" y="295"/>
                  </a:lnTo>
                  <a:lnTo>
                    <a:pt x="165" y="295"/>
                  </a:lnTo>
                  <a:lnTo>
                    <a:pt x="194" y="312"/>
                  </a:lnTo>
                  <a:lnTo>
                    <a:pt x="203" y="287"/>
                  </a:lnTo>
                  <a:lnTo>
                    <a:pt x="230" y="295"/>
                  </a:lnTo>
                  <a:lnTo>
                    <a:pt x="256" y="293"/>
                  </a:lnTo>
                  <a:lnTo>
                    <a:pt x="235" y="266"/>
                  </a:lnTo>
                  <a:lnTo>
                    <a:pt x="253" y="240"/>
                  </a:lnTo>
                  <a:lnTo>
                    <a:pt x="265" y="212"/>
                  </a:lnTo>
                  <a:lnTo>
                    <a:pt x="281" y="186"/>
                  </a:lnTo>
                  <a:lnTo>
                    <a:pt x="292" y="158"/>
                  </a:lnTo>
                  <a:lnTo>
                    <a:pt x="302" y="132"/>
                  </a:lnTo>
                  <a:lnTo>
                    <a:pt x="315" y="106"/>
                  </a:lnTo>
                  <a:lnTo>
                    <a:pt x="295" y="80"/>
                  </a:lnTo>
                  <a:lnTo>
                    <a:pt x="269" y="70"/>
                  </a:lnTo>
                  <a:lnTo>
                    <a:pt x="242" y="61"/>
                  </a:lnTo>
                  <a:lnTo>
                    <a:pt x="214" y="49"/>
                  </a:lnTo>
                  <a:lnTo>
                    <a:pt x="186" y="44"/>
                  </a:lnTo>
                  <a:lnTo>
                    <a:pt x="175" y="49"/>
                  </a:lnTo>
                  <a:close/>
                  <a:moveTo>
                    <a:pt x="726" y="300"/>
                  </a:moveTo>
                  <a:lnTo>
                    <a:pt x="705" y="300"/>
                  </a:lnTo>
                  <a:lnTo>
                    <a:pt x="680" y="305"/>
                  </a:lnTo>
                  <a:lnTo>
                    <a:pt x="652" y="300"/>
                  </a:lnTo>
                  <a:lnTo>
                    <a:pt x="625" y="316"/>
                  </a:lnTo>
                  <a:lnTo>
                    <a:pt x="599" y="331"/>
                  </a:lnTo>
                  <a:lnTo>
                    <a:pt x="571" y="339"/>
                  </a:lnTo>
                  <a:lnTo>
                    <a:pt x="546" y="344"/>
                  </a:lnTo>
                  <a:lnTo>
                    <a:pt x="519" y="342"/>
                  </a:lnTo>
                  <a:lnTo>
                    <a:pt x="491" y="333"/>
                  </a:lnTo>
                  <a:lnTo>
                    <a:pt x="465" y="354"/>
                  </a:lnTo>
                  <a:lnTo>
                    <a:pt x="436" y="365"/>
                  </a:lnTo>
                  <a:lnTo>
                    <a:pt x="410" y="360"/>
                  </a:lnTo>
                  <a:lnTo>
                    <a:pt x="382" y="351"/>
                  </a:lnTo>
                  <a:lnTo>
                    <a:pt x="357" y="347"/>
                  </a:lnTo>
                  <a:lnTo>
                    <a:pt x="330" y="333"/>
                  </a:lnTo>
                  <a:lnTo>
                    <a:pt x="325" y="308"/>
                  </a:lnTo>
                  <a:lnTo>
                    <a:pt x="323" y="282"/>
                  </a:lnTo>
                  <a:lnTo>
                    <a:pt x="343" y="256"/>
                  </a:lnTo>
                  <a:lnTo>
                    <a:pt x="336" y="231"/>
                  </a:lnTo>
                  <a:lnTo>
                    <a:pt x="330" y="201"/>
                  </a:lnTo>
                  <a:lnTo>
                    <a:pt x="343" y="176"/>
                  </a:lnTo>
                  <a:lnTo>
                    <a:pt x="369" y="157"/>
                  </a:lnTo>
                  <a:lnTo>
                    <a:pt x="396" y="148"/>
                  </a:lnTo>
                  <a:lnTo>
                    <a:pt x="421" y="134"/>
                  </a:lnTo>
                  <a:lnTo>
                    <a:pt x="447" y="109"/>
                  </a:lnTo>
                  <a:lnTo>
                    <a:pt x="475" y="100"/>
                  </a:lnTo>
                  <a:lnTo>
                    <a:pt x="502" y="111"/>
                  </a:lnTo>
                  <a:lnTo>
                    <a:pt x="527" y="127"/>
                  </a:lnTo>
                  <a:lnTo>
                    <a:pt x="555" y="139"/>
                  </a:lnTo>
                  <a:lnTo>
                    <a:pt x="581" y="121"/>
                  </a:lnTo>
                  <a:lnTo>
                    <a:pt x="608" y="119"/>
                  </a:lnTo>
                  <a:lnTo>
                    <a:pt x="631" y="144"/>
                  </a:lnTo>
                  <a:lnTo>
                    <a:pt x="641" y="171"/>
                  </a:lnTo>
                  <a:lnTo>
                    <a:pt x="666" y="176"/>
                  </a:lnTo>
                  <a:lnTo>
                    <a:pt x="675" y="201"/>
                  </a:lnTo>
                  <a:lnTo>
                    <a:pt x="698" y="227"/>
                  </a:lnTo>
                  <a:lnTo>
                    <a:pt x="726" y="233"/>
                  </a:lnTo>
                  <a:lnTo>
                    <a:pt x="752" y="235"/>
                  </a:lnTo>
                  <a:lnTo>
                    <a:pt x="781" y="210"/>
                  </a:lnTo>
                  <a:lnTo>
                    <a:pt x="806" y="201"/>
                  </a:lnTo>
                  <a:lnTo>
                    <a:pt x="832" y="206"/>
                  </a:lnTo>
                  <a:lnTo>
                    <a:pt x="861" y="197"/>
                  </a:lnTo>
                  <a:lnTo>
                    <a:pt x="837" y="168"/>
                  </a:lnTo>
                  <a:lnTo>
                    <a:pt x="811" y="155"/>
                  </a:lnTo>
                  <a:lnTo>
                    <a:pt x="786" y="134"/>
                  </a:lnTo>
                  <a:lnTo>
                    <a:pt x="760" y="139"/>
                  </a:lnTo>
                  <a:lnTo>
                    <a:pt x="734" y="124"/>
                  </a:lnTo>
                  <a:lnTo>
                    <a:pt x="705" y="103"/>
                  </a:lnTo>
                  <a:lnTo>
                    <a:pt x="682" y="77"/>
                  </a:lnTo>
                  <a:lnTo>
                    <a:pt x="656" y="56"/>
                  </a:lnTo>
                  <a:lnTo>
                    <a:pt x="664" y="28"/>
                  </a:lnTo>
                  <a:lnTo>
                    <a:pt x="690" y="13"/>
                  </a:lnTo>
                  <a:lnTo>
                    <a:pt x="719" y="5"/>
                  </a:lnTo>
                  <a:lnTo>
                    <a:pt x="744" y="0"/>
                  </a:lnTo>
                  <a:lnTo>
                    <a:pt x="770" y="10"/>
                  </a:lnTo>
                  <a:lnTo>
                    <a:pt x="799" y="13"/>
                  </a:lnTo>
                  <a:lnTo>
                    <a:pt x="816" y="38"/>
                  </a:lnTo>
                  <a:lnTo>
                    <a:pt x="829" y="67"/>
                  </a:lnTo>
                  <a:lnTo>
                    <a:pt x="855" y="90"/>
                  </a:lnTo>
                  <a:lnTo>
                    <a:pt x="884" y="95"/>
                  </a:lnTo>
                  <a:lnTo>
                    <a:pt x="910" y="72"/>
                  </a:lnTo>
                  <a:lnTo>
                    <a:pt x="938" y="59"/>
                  </a:lnTo>
                  <a:lnTo>
                    <a:pt x="964" y="67"/>
                  </a:lnTo>
                  <a:lnTo>
                    <a:pt x="990" y="80"/>
                  </a:lnTo>
                  <a:lnTo>
                    <a:pt x="1003" y="106"/>
                  </a:lnTo>
                  <a:lnTo>
                    <a:pt x="1000" y="132"/>
                  </a:lnTo>
                  <a:lnTo>
                    <a:pt x="1000" y="160"/>
                  </a:lnTo>
                  <a:lnTo>
                    <a:pt x="1016" y="132"/>
                  </a:lnTo>
                  <a:lnTo>
                    <a:pt x="1013" y="106"/>
                  </a:lnTo>
                  <a:lnTo>
                    <a:pt x="1039" y="77"/>
                  </a:lnTo>
                  <a:lnTo>
                    <a:pt x="1065" y="75"/>
                  </a:lnTo>
                  <a:lnTo>
                    <a:pt x="1094" y="75"/>
                  </a:lnTo>
                  <a:lnTo>
                    <a:pt x="1111" y="103"/>
                  </a:lnTo>
                  <a:lnTo>
                    <a:pt x="1124" y="130"/>
                  </a:lnTo>
                  <a:lnTo>
                    <a:pt x="1127" y="155"/>
                  </a:lnTo>
                  <a:lnTo>
                    <a:pt x="1122" y="183"/>
                  </a:lnTo>
                  <a:lnTo>
                    <a:pt x="1148" y="199"/>
                  </a:lnTo>
                  <a:lnTo>
                    <a:pt x="1173" y="176"/>
                  </a:lnTo>
                  <a:lnTo>
                    <a:pt x="1173" y="231"/>
                  </a:lnTo>
                  <a:lnTo>
                    <a:pt x="1145" y="241"/>
                  </a:lnTo>
                  <a:lnTo>
                    <a:pt x="1119" y="241"/>
                  </a:lnTo>
                  <a:lnTo>
                    <a:pt x="1090" y="231"/>
                  </a:lnTo>
                  <a:lnTo>
                    <a:pt x="1065" y="231"/>
                  </a:lnTo>
                  <a:lnTo>
                    <a:pt x="1039" y="227"/>
                  </a:lnTo>
                  <a:lnTo>
                    <a:pt x="1013" y="243"/>
                  </a:lnTo>
                  <a:lnTo>
                    <a:pt x="1039" y="248"/>
                  </a:lnTo>
                  <a:lnTo>
                    <a:pt x="1065" y="248"/>
                  </a:lnTo>
                  <a:lnTo>
                    <a:pt x="1090" y="272"/>
                  </a:lnTo>
                  <a:lnTo>
                    <a:pt x="1065" y="275"/>
                  </a:lnTo>
                  <a:lnTo>
                    <a:pt x="1039" y="264"/>
                  </a:lnTo>
                  <a:lnTo>
                    <a:pt x="1013" y="256"/>
                  </a:lnTo>
                  <a:lnTo>
                    <a:pt x="984" y="264"/>
                  </a:lnTo>
                  <a:lnTo>
                    <a:pt x="959" y="272"/>
                  </a:lnTo>
                  <a:lnTo>
                    <a:pt x="933" y="280"/>
                  </a:lnTo>
                  <a:lnTo>
                    <a:pt x="905" y="275"/>
                  </a:lnTo>
                  <a:lnTo>
                    <a:pt x="894" y="248"/>
                  </a:lnTo>
                  <a:lnTo>
                    <a:pt x="912" y="222"/>
                  </a:lnTo>
                  <a:lnTo>
                    <a:pt x="899" y="194"/>
                  </a:lnTo>
                  <a:lnTo>
                    <a:pt x="878" y="220"/>
                  </a:lnTo>
                  <a:lnTo>
                    <a:pt x="861" y="248"/>
                  </a:lnTo>
                  <a:lnTo>
                    <a:pt x="832" y="266"/>
                  </a:lnTo>
                  <a:lnTo>
                    <a:pt x="806" y="282"/>
                  </a:lnTo>
                  <a:lnTo>
                    <a:pt x="781" y="277"/>
                  </a:lnTo>
                  <a:lnTo>
                    <a:pt x="752" y="289"/>
                  </a:lnTo>
                  <a:lnTo>
                    <a:pt x="726" y="30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4" name="Freeform 12"/>
            <p:cNvSpPr>
              <a:spLocks/>
            </p:cNvSpPr>
            <p:nvPr/>
          </p:nvSpPr>
          <p:spPr bwMode="auto">
            <a:xfrm>
              <a:off x="1981384" y="3659623"/>
              <a:ext cx="14112" cy="14111"/>
            </a:xfrm>
            <a:custGeom>
              <a:avLst/>
              <a:gdLst>
                <a:gd name="T0" fmla="*/ 2147483647 w 24"/>
                <a:gd name="T1" fmla="*/ 0 h 26"/>
                <a:gd name="T2" fmla="*/ 2147483647 w 24"/>
                <a:gd name="T3" fmla="*/ 2147483647 h 26"/>
                <a:gd name="T4" fmla="*/ 0 w 24"/>
                <a:gd name="T5" fmla="*/ 0 h 26"/>
                <a:gd name="T6" fmla="*/ 2147483647 w 24"/>
                <a:gd name="T7" fmla="*/ 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26">
                  <a:moveTo>
                    <a:pt x="6" y="0"/>
                  </a:moveTo>
                  <a:lnTo>
                    <a:pt x="24" y="2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5" name="Freeform 13"/>
            <p:cNvSpPr>
              <a:spLocks/>
            </p:cNvSpPr>
            <p:nvPr/>
          </p:nvSpPr>
          <p:spPr bwMode="auto">
            <a:xfrm>
              <a:off x="2455871" y="3054609"/>
              <a:ext cx="5292" cy="15876"/>
            </a:xfrm>
            <a:custGeom>
              <a:avLst/>
              <a:gdLst>
                <a:gd name="T0" fmla="*/ 2147483647 w 10"/>
                <a:gd name="T1" fmla="*/ 2147483647 h 26"/>
                <a:gd name="T2" fmla="*/ 0 w 10"/>
                <a:gd name="T3" fmla="*/ 0 h 26"/>
                <a:gd name="T4" fmla="*/ 2147483647 w 10"/>
                <a:gd name="T5" fmla="*/ 2147483647 h 26"/>
                <a:gd name="T6" fmla="*/ 2147483647 w 10"/>
                <a:gd name="T7" fmla="*/ 2147483647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26">
                  <a:moveTo>
                    <a:pt x="8" y="26"/>
                  </a:moveTo>
                  <a:lnTo>
                    <a:pt x="0" y="0"/>
                  </a:lnTo>
                  <a:lnTo>
                    <a:pt x="10" y="26"/>
                  </a:lnTo>
                  <a:lnTo>
                    <a:pt x="8" y="26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6" name="Freeform 14"/>
            <p:cNvSpPr>
              <a:spLocks noEditPoints="1"/>
            </p:cNvSpPr>
            <p:nvPr/>
          </p:nvSpPr>
          <p:spPr bwMode="auto">
            <a:xfrm>
              <a:off x="1584508" y="1474162"/>
              <a:ext cx="1284115" cy="1128891"/>
            </a:xfrm>
            <a:custGeom>
              <a:avLst/>
              <a:gdLst>
                <a:gd name="T0" fmla="*/ 2147483647 w 2186"/>
                <a:gd name="T1" fmla="*/ 2147483647 h 1918"/>
                <a:gd name="T2" fmla="*/ 2147483647 w 2186"/>
                <a:gd name="T3" fmla="*/ 2147483647 h 1918"/>
                <a:gd name="T4" fmla="*/ 2147483647 w 2186"/>
                <a:gd name="T5" fmla="*/ 2147483647 h 1918"/>
                <a:gd name="T6" fmla="*/ 2147483647 w 2186"/>
                <a:gd name="T7" fmla="*/ 2147483647 h 1918"/>
                <a:gd name="T8" fmla="*/ 2147483647 w 2186"/>
                <a:gd name="T9" fmla="*/ 2147483647 h 1918"/>
                <a:gd name="T10" fmla="*/ 2147483647 w 2186"/>
                <a:gd name="T11" fmla="*/ 2147483647 h 1918"/>
                <a:gd name="T12" fmla="*/ 2147483647 w 2186"/>
                <a:gd name="T13" fmla="*/ 2147483647 h 1918"/>
                <a:gd name="T14" fmla="*/ 2147483647 w 2186"/>
                <a:gd name="T15" fmla="*/ 2147483647 h 1918"/>
                <a:gd name="T16" fmla="*/ 2147483647 w 2186"/>
                <a:gd name="T17" fmla="*/ 2147483647 h 1918"/>
                <a:gd name="T18" fmla="*/ 2147483647 w 2186"/>
                <a:gd name="T19" fmla="*/ 2147483647 h 1918"/>
                <a:gd name="T20" fmla="*/ 2147483647 w 2186"/>
                <a:gd name="T21" fmla="*/ 2147483647 h 1918"/>
                <a:gd name="T22" fmla="*/ 2147483647 w 2186"/>
                <a:gd name="T23" fmla="*/ 2147483647 h 1918"/>
                <a:gd name="T24" fmla="*/ 2147483647 w 2186"/>
                <a:gd name="T25" fmla="*/ 2147483647 h 1918"/>
                <a:gd name="T26" fmla="*/ 2147483647 w 2186"/>
                <a:gd name="T27" fmla="*/ 2147483647 h 1918"/>
                <a:gd name="T28" fmla="*/ 2147483647 w 2186"/>
                <a:gd name="T29" fmla="*/ 2147483647 h 1918"/>
                <a:gd name="T30" fmla="*/ 2147483647 w 2186"/>
                <a:gd name="T31" fmla="*/ 2147483647 h 1918"/>
                <a:gd name="T32" fmla="*/ 2147483647 w 2186"/>
                <a:gd name="T33" fmla="*/ 2147483647 h 1918"/>
                <a:gd name="T34" fmla="*/ 2147483647 w 2186"/>
                <a:gd name="T35" fmla="*/ 2147483647 h 1918"/>
                <a:gd name="T36" fmla="*/ 2147483647 w 2186"/>
                <a:gd name="T37" fmla="*/ 2147483647 h 1918"/>
                <a:gd name="T38" fmla="*/ 2147483647 w 2186"/>
                <a:gd name="T39" fmla="*/ 2147483647 h 1918"/>
                <a:gd name="T40" fmla="*/ 2147483647 w 2186"/>
                <a:gd name="T41" fmla="*/ 2147483647 h 1918"/>
                <a:gd name="T42" fmla="*/ 2147483647 w 2186"/>
                <a:gd name="T43" fmla="*/ 2147483647 h 1918"/>
                <a:gd name="T44" fmla="*/ 2147483647 w 2186"/>
                <a:gd name="T45" fmla="*/ 2147483647 h 1918"/>
                <a:gd name="T46" fmla="*/ 2147483647 w 2186"/>
                <a:gd name="T47" fmla="*/ 2147483647 h 1918"/>
                <a:gd name="T48" fmla="*/ 2147483647 w 2186"/>
                <a:gd name="T49" fmla="*/ 2147483647 h 1918"/>
                <a:gd name="T50" fmla="*/ 2147483647 w 2186"/>
                <a:gd name="T51" fmla="*/ 2147483647 h 1918"/>
                <a:gd name="T52" fmla="*/ 2147483647 w 2186"/>
                <a:gd name="T53" fmla="*/ 2147483647 h 1918"/>
                <a:gd name="T54" fmla="*/ 2147483647 w 2186"/>
                <a:gd name="T55" fmla="*/ 2147483647 h 1918"/>
                <a:gd name="T56" fmla="*/ 2147483647 w 2186"/>
                <a:gd name="T57" fmla="*/ 2147483647 h 1918"/>
                <a:gd name="T58" fmla="*/ 2147483647 w 2186"/>
                <a:gd name="T59" fmla="*/ 2147483647 h 1918"/>
                <a:gd name="T60" fmla="*/ 2147483647 w 2186"/>
                <a:gd name="T61" fmla="*/ 2147483647 h 1918"/>
                <a:gd name="T62" fmla="*/ 2147483647 w 2186"/>
                <a:gd name="T63" fmla="*/ 2147483647 h 1918"/>
                <a:gd name="T64" fmla="*/ 2147483647 w 2186"/>
                <a:gd name="T65" fmla="*/ 2147483647 h 1918"/>
                <a:gd name="T66" fmla="*/ 2147483647 w 2186"/>
                <a:gd name="T67" fmla="*/ 2147483647 h 1918"/>
                <a:gd name="T68" fmla="*/ 2147483647 w 2186"/>
                <a:gd name="T69" fmla="*/ 2147483647 h 1918"/>
                <a:gd name="T70" fmla="*/ 2147483647 w 2186"/>
                <a:gd name="T71" fmla="*/ 2147483647 h 1918"/>
                <a:gd name="T72" fmla="*/ 2147483647 w 2186"/>
                <a:gd name="T73" fmla="*/ 2147483647 h 1918"/>
                <a:gd name="T74" fmla="*/ 2147483647 w 2186"/>
                <a:gd name="T75" fmla="*/ 2147483647 h 1918"/>
                <a:gd name="T76" fmla="*/ 2147483647 w 2186"/>
                <a:gd name="T77" fmla="*/ 2147483647 h 1918"/>
                <a:gd name="T78" fmla="*/ 2147483647 w 2186"/>
                <a:gd name="T79" fmla="*/ 2147483647 h 1918"/>
                <a:gd name="T80" fmla="*/ 0 w 2186"/>
                <a:gd name="T81" fmla="*/ 2147483647 h 1918"/>
                <a:gd name="T82" fmla="*/ 2147483647 w 2186"/>
                <a:gd name="T83" fmla="*/ 2147483647 h 1918"/>
                <a:gd name="T84" fmla="*/ 2147483647 w 2186"/>
                <a:gd name="T85" fmla="*/ 2147483647 h 1918"/>
                <a:gd name="T86" fmla="*/ 2147483647 w 2186"/>
                <a:gd name="T87" fmla="*/ 2147483647 h 1918"/>
                <a:gd name="T88" fmla="*/ 2147483647 w 2186"/>
                <a:gd name="T89" fmla="*/ 2147483647 h 1918"/>
                <a:gd name="T90" fmla="*/ 2147483647 w 2186"/>
                <a:gd name="T91" fmla="*/ 2147483647 h 1918"/>
                <a:gd name="T92" fmla="*/ 2147483647 w 2186"/>
                <a:gd name="T93" fmla="*/ 2147483647 h 1918"/>
                <a:gd name="T94" fmla="*/ 2147483647 w 2186"/>
                <a:gd name="T95" fmla="*/ 2147483647 h 1918"/>
                <a:gd name="T96" fmla="*/ 2147483647 w 2186"/>
                <a:gd name="T97" fmla="*/ 2147483647 h 1918"/>
                <a:gd name="T98" fmla="*/ 2147483647 w 2186"/>
                <a:gd name="T99" fmla="*/ 2147483647 h 1918"/>
                <a:gd name="T100" fmla="*/ 2147483647 w 2186"/>
                <a:gd name="T101" fmla="*/ 2147483647 h 1918"/>
                <a:gd name="T102" fmla="*/ 2147483647 w 2186"/>
                <a:gd name="T103" fmla="*/ 2147483647 h 1918"/>
                <a:gd name="T104" fmla="*/ 2147483647 w 2186"/>
                <a:gd name="T105" fmla="*/ 2147483647 h 1918"/>
                <a:gd name="T106" fmla="*/ 2147483647 w 2186"/>
                <a:gd name="T107" fmla="*/ 2147483647 h 1918"/>
                <a:gd name="T108" fmla="*/ 2147483647 w 2186"/>
                <a:gd name="T109" fmla="*/ 2147483647 h 1918"/>
                <a:gd name="T110" fmla="*/ 2147483647 w 2186"/>
                <a:gd name="T111" fmla="*/ 2147483647 h 1918"/>
                <a:gd name="T112" fmla="*/ 2147483647 w 2186"/>
                <a:gd name="T113" fmla="*/ 2147483647 h 19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186" h="1918">
                  <a:moveTo>
                    <a:pt x="577" y="1807"/>
                  </a:moveTo>
                  <a:lnTo>
                    <a:pt x="603" y="1833"/>
                  </a:lnTo>
                  <a:lnTo>
                    <a:pt x="610" y="1859"/>
                  </a:lnTo>
                  <a:lnTo>
                    <a:pt x="590" y="1888"/>
                  </a:lnTo>
                  <a:lnTo>
                    <a:pt x="564" y="1893"/>
                  </a:lnTo>
                  <a:lnTo>
                    <a:pt x="541" y="1918"/>
                  </a:lnTo>
                  <a:lnTo>
                    <a:pt x="528" y="1890"/>
                  </a:lnTo>
                  <a:lnTo>
                    <a:pt x="504" y="1864"/>
                  </a:lnTo>
                  <a:lnTo>
                    <a:pt x="499" y="1835"/>
                  </a:lnTo>
                  <a:lnTo>
                    <a:pt x="523" y="1810"/>
                  </a:lnTo>
                  <a:lnTo>
                    <a:pt x="525" y="1835"/>
                  </a:lnTo>
                  <a:lnTo>
                    <a:pt x="551" y="1822"/>
                  </a:lnTo>
                  <a:lnTo>
                    <a:pt x="577" y="1807"/>
                  </a:lnTo>
                  <a:close/>
                  <a:moveTo>
                    <a:pt x="707" y="1344"/>
                  </a:moveTo>
                  <a:lnTo>
                    <a:pt x="698" y="1338"/>
                  </a:lnTo>
                  <a:lnTo>
                    <a:pt x="707" y="1344"/>
                  </a:lnTo>
                  <a:close/>
                  <a:moveTo>
                    <a:pt x="619" y="1685"/>
                  </a:moveTo>
                  <a:lnTo>
                    <a:pt x="626" y="1688"/>
                  </a:lnTo>
                  <a:lnTo>
                    <a:pt x="634" y="1716"/>
                  </a:lnTo>
                  <a:lnTo>
                    <a:pt x="659" y="1727"/>
                  </a:lnTo>
                  <a:lnTo>
                    <a:pt x="683" y="1755"/>
                  </a:lnTo>
                  <a:lnTo>
                    <a:pt x="711" y="1739"/>
                  </a:lnTo>
                  <a:lnTo>
                    <a:pt x="732" y="1768"/>
                  </a:lnTo>
                  <a:lnTo>
                    <a:pt x="758" y="1782"/>
                  </a:lnTo>
                  <a:lnTo>
                    <a:pt x="763" y="1789"/>
                  </a:lnTo>
                  <a:lnTo>
                    <a:pt x="753" y="1789"/>
                  </a:lnTo>
                  <a:lnTo>
                    <a:pt x="725" y="1799"/>
                  </a:lnTo>
                  <a:lnTo>
                    <a:pt x="698" y="1786"/>
                  </a:lnTo>
                  <a:lnTo>
                    <a:pt x="670" y="1768"/>
                  </a:lnTo>
                  <a:lnTo>
                    <a:pt x="644" y="1760"/>
                  </a:lnTo>
                  <a:lnTo>
                    <a:pt x="615" y="1773"/>
                  </a:lnTo>
                  <a:lnTo>
                    <a:pt x="590" y="1782"/>
                  </a:lnTo>
                  <a:lnTo>
                    <a:pt x="564" y="1766"/>
                  </a:lnTo>
                  <a:lnTo>
                    <a:pt x="577" y="1739"/>
                  </a:lnTo>
                  <a:lnTo>
                    <a:pt x="587" y="1711"/>
                  </a:lnTo>
                  <a:lnTo>
                    <a:pt x="590" y="1685"/>
                  </a:lnTo>
                  <a:lnTo>
                    <a:pt x="615" y="1683"/>
                  </a:lnTo>
                  <a:lnTo>
                    <a:pt x="619" y="1685"/>
                  </a:lnTo>
                  <a:close/>
                  <a:moveTo>
                    <a:pt x="714" y="1709"/>
                  </a:moveTo>
                  <a:lnTo>
                    <a:pt x="701" y="1693"/>
                  </a:lnTo>
                  <a:lnTo>
                    <a:pt x="711" y="1709"/>
                  </a:lnTo>
                  <a:lnTo>
                    <a:pt x="714" y="1709"/>
                  </a:lnTo>
                  <a:close/>
                  <a:moveTo>
                    <a:pt x="553" y="1628"/>
                  </a:moveTo>
                  <a:lnTo>
                    <a:pt x="577" y="1654"/>
                  </a:lnTo>
                  <a:lnTo>
                    <a:pt x="551" y="1654"/>
                  </a:lnTo>
                  <a:lnTo>
                    <a:pt x="548" y="1628"/>
                  </a:lnTo>
                  <a:lnTo>
                    <a:pt x="553" y="1628"/>
                  </a:lnTo>
                  <a:close/>
                  <a:moveTo>
                    <a:pt x="603" y="1610"/>
                  </a:moveTo>
                  <a:lnTo>
                    <a:pt x="626" y="1639"/>
                  </a:lnTo>
                  <a:lnTo>
                    <a:pt x="652" y="1665"/>
                  </a:lnTo>
                  <a:lnTo>
                    <a:pt x="624" y="1649"/>
                  </a:lnTo>
                  <a:lnTo>
                    <a:pt x="598" y="1628"/>
                  </a:lnTo>
                  <a:lnTo>
                    <a:pt x="580" y="1600"/>
                  </a:lnTo>
                  <a:lnTo>
                    <a:pt x="603" y="1610"/>
                  </a:lnTo>
                  <a:close/>
                  <a:moveTo>
                    <a:pt x="383" y="1359"/>
                  </a:moveTo>
                  <a:lnTo>
                    <a:pt x="354" y="1344"/>
                  </a:lnTo>
                  <a:lnTo>
                    <a:pt x="383" y="1331"/>
                  </a:lnTo>
                  <a:lnTo>
                    <a:pt x="383" y="1359"/>
                  </a:lnTo>
                  <a:close/>
                  <a:moveTo>
                    <a:pt x="461" y="1284"/>
                  </a:moveTo>
                  <a:lnTo>
                    <a:pt x="456" y="1310"/>
                  </a:lnTo>
                  <a:lnTo>
                    <a:pt x="435" y="1336"/>
                  </a:lnTo>
                  <a:lnTo>
                    <a:pt x="409" y="1333"/>
                  </a:lnTo>
                  <a:lnTo>
                    <a:pt x="383" y="1323"/>
                  </a:lnTo>
                  <a:lnTo>
                    <a:pt x="389" y="1297"/>
                  </a:lnTo>
                  <a:lnTo>
                    <a:pt x="412" y="1269"/>
                  </a:lnTo>
                  <a:lnTo>
                    <a:pt x="437" y="1282"/>
                  </a:lnTo>
                  <a:lnTo>
                    <a:pt x="461" y="1284"/>
                  </a:lnTo>
                  <a:close/>
                  <a:moveTo>
                    <a:pt x="2159" y="787"/>
                  </a:moveTo>
                  <a:lnTo>
                    <a:pt x="2186" y="792"/>
                  </a:lnTo>
                  <a:lnTo>
                    <a:pt x="2159" y="792"/>
                  </a:lnTo>
                  <a:lnTo>
                    <a:pt x="2159" y="787"/>
                  </a:lnTo>
                  <a:close/>
                  <a:moveTo>
                    <a:pt x="1193" y="720"/>
                  </a:moveTo>
                  <a:lnTo>
                    <a:pt x="1179" y="691"/>
                  </a:lnTo>
                  <a:lnTo>
                    <a:pt x="1198" y="720"/>
                  </a:lnTo>
                  <a:lnTo>
                    <a:pt x="1193" y="720"/>
                  </a:lnTo>
                  <a:close/>
                  <a:moveTo>
                    <a:pt x="1006" y="681"/>
                  </a:moveTo>
                  <a:lnTo>
                    <a:pt x="1006" y="655"/>
                  </a:lnTo>
                  <a:lnTo>
                    <a:pt x="1004" y="629"/>
                  </a:lnTo>
                  <a:lnTo>
                    <a:pt x="1029" y="635"/>
                  </a:lnTo>
                  <a:lnTo>
                    <a:pt x="1055" y="632"/>
                  </a:lnTo>
                  <a:lnTo>
                    <a:pt x="1045" y="660"/>
                  </a:lnTo>
                  <a:lnTo>
                    <a:pt x="1020" y="665"/>
                  </a:lnTo>
                  <a:lnTo>
                    <a:pt x="1006" y="681"/>
                  </a:lnTo>
                  <a:close/>
                  <a:moveTo>
                    <a:pt x="2089" y="660"/>
                  </a:moveTo>
                  <a:lnTo>
                    <a:pt x="2110" y="635"/>
                  </a:lnTo>
                  <a:lnTo>
                    <a:pt x="2128" y="663"/>
                  </a:lnTo>
                  <a:lnTo>
                    <a:pt x="2103" y="676"/>
                  </a:lnTo>
                  <a:lnTo>
                    <a:pt x="2089" y="660"/>
                  </a:lnTo>
                  <a:close/>
                  <a:moveTo>
                    <a:pt x="1184" y="572"/>
                  </a:moveTo>
                  <a:lnTo>
                    <a:pt x="1182" y="543"/>
                  </a:lnTo>
                  <a:lnTo>
                    <a:pt x="1211" y="562"/>
                  </a:lnTo>
                  <a:lnTo>
                    <a:pt x="1211" y="587"/>
                  </a:lnTo>
                  <a:lnTo>
                    <a:pt x="1184" y="572"/>
                  </a:lnTo>
                  <a:close/>
                  <a:moveTo>
                    <a:pt x="1195" y="526"/>
                  </a:moveTo>
                  <a:lnTo>
                    <a:pt x="1205" y="499"/>
                  </a:lnTo>
                  <a:lnTo>
                    <a:pt x="1213" y="526"/>
                  </a:lnTo>
                  <a:lnTo>
                    <a:pt x="1195" y="526"/>
                  </a:lnTo>
                  <a:close/>
                  <a:moveTo>
                    <a:pt x="1836" y="324"/>
                  </a:moveTo>
                  <a:lnTo>
                    <a:pt x="1824" y="298"/>
                  </a:lnTo>
                  <a:lnTo>
                    <a:pt x="1815" y="272"/>
                  </a:lnTo>
                  <a:lnTo>
                    <a:pt x="1839" y="246"/>
                  </a:lnTo>
                  <a:lnTo>
                    <a:pt x="1864" y="220"/>
                  </a:lnTo>
                  <a:lnTo>
                    <a:pt x="1885" y="192"/>
                  </a:lnTo>
                  <a:lnTo>
                    <a:pt x="1926" y="248"/>
                  </a:lnTo>
                  <a:lnTo>
                    <a:pt x="1953" y="275"/>
                  </a:lnTo>
                  <a:lnTo>
                    <a:pt x="1953" y="301"/>
                  </a:lnTo>
                  <a:lnTo>
                    <a:pt x="1955" y="329"/>
                  </a:lnTo>
                  <a:lnTo>
                    <a:pt x="1937" y="354"/>
                  </a:lnTo>
                  <a:lnTo>
                    <a:pt x="1930" y="381"/>
                  </a:lnTo>
                  <a:lnTo>
                    <a:pt x="1903" y="388"/>
                  </a:lnTo>
                  <a:lnTo>
                    <a:pt x="1877" y="396"/>
                  </a:lnTo>
                  <a:lnTo>
                    <a:pt x="1849" y="381"/>
                  </a:lnTo>
                  <a:lnTo>
                    <a:pt x="1875" y="354"/>
                  </a:lnTo>
                  <a:lnTo>
                    <a:pt x="1901" y="357"/>
                  </a:lnTo>
                  <a:lnTo>
                    <a:pt x="1873" y="336"/>
                  </a:lnTo>
                  <a:lnTo>
                    <a:pt x="1847" y="329"/>
                  </a:lnTo>
                  <a:lnTo>
                    <a:pt x="1836" y="324"/>
                  </a:lnTo>
                  <a:close/>
                  <a:moveTo>
                    <a:pt x="1795" y="26"/>
                  </a:moveTo>
                  <a:lnTo>
                    <a:pt x="1813" y="0"/>
                  </a:lnTo>
                  <a:lnTo>
                    <a:pt x="1813" y="29"/>
                  </a:lnTo>
                  <a:lnTo>
                    <a:pt x="1795" y="26"/>
                  </a:lnTo>
                  <a:close/>
                  <a:moveTo>
                    <a:pt x="27" y="1577"/>
                  </a:moveTo>
                  <a:lnTo>
                    <a:pt x="0" y="1589"/>
                  </a:lnTo>
                  <a:lnTo>
                    <a:pt x="27" y="1571"/>
                  </a:lnTo>
                  <a:lnTo>
                    <a:pt x="27" y="1577"/>
                  </a:lnTo>
                  <a:close/>
                  <a:moveTo>
                    <a:pt x="502" y="1465"/>
                  </a:moveTo>
                  <a:lnTo>
                    <a:pt x="481" y="1439"/>
                  </a:lnTo>
                  <a:lnTo>
                    <a:pt x="504" y="1465"/>
                  </a:lnTo>
                  <a:lnTo>
                    <a:pt x="502" y="1465"/>
                  </a:lnTo>
                  <a:close/>
                  <a:moveTo>
                    <a:pt x="504" y="1437"/>
                  </a:moveTo>
                  <a:lnTo>
                    <a:pt x="476" y="1429"/>
                  </a:lnTo>
                  <a:lnTo>
                    <a:pt x="502" y="1406"/>
                  </a:lnTo>
                  <a:lnTo>
                    <a:pt x="509" y="1434"/>
                  </a:lnTo>
                  <a:lnTo>
                    <a:pt x="504" y="1437"/>
                  </a:lnTo>
                  <a:close/>
                  <a:moveTo>
                    <a:pt x="624" y="1414"/>
                  </a:moveTo>
                  <a:lnTo>
                    <a:pt x="598" y="1414"/>
                  </a:lnTo>
                  <a:lnTo>
                    <a:pt x="624" y="1409"/>
                  </a:lnTo>
                  <a:lnTo>
                    <a:pt x="624" y="1414"/>
                  </a:lnTo>
                  <a:close/>
                  <a:moveTo>
                    <a:pt x="347" y="1409"/>
                  </a:moveTo>
                  <a:lnTo>
                    <a:pt x="320" y="1400"/>
                  </a:lnTo>
                  <a:lnTo>
                    <a:pt x="308" y="1375"/>
                  </a:lnTo>
                  <a:lnTo>
                    <a:pt x="336" y="1385"/>
                  </a:lnTo>
                  <a:lnTo>
                    <a:pt x="347" y="1409"/>
                  </a:lnTo>
                  <a:close/>
                  <a:moveTo>
                    <a:pt x="386" y="1406"/>
                  </a:moveTo>
                  <a:lnTo>
                    <a:pt x="357" y="1393"/>
                  </a:lnTo>
                  <a:lnTo>
                    <a:pt x="383" y="1406"/>
                  </a:lnTo>
                  <a:lnTo>
                    <a:pt x="386" y="1406"/>
                  </a:lnTo>
                  <a:close/>
                  <a:moveTo>
                    <a:pt x="468" y="1406"/>
                  </a:moveTo>
                  <a:lnTo>
                    <a:pt x="453" y="1380"/>
                  </a:lnTo>
                  <a:lnTo>
                    <a:pt x="437" y="1351"/>
                  </a:lnTo>
                  <a:lnTo>
                    <a:pt x="463" y="1375"/>
                  </a:lnTo>
                  <a:lnTo>
                    <a:pt x="492" y="1377"/>
                  </a:lnTo>
                  <a:lnTo>
                    <a:pt x="471" y="1403"/>
                  </a:lnTo>
                  <a:lnTo>
                    <a:pt x="468" y="1406"/>
                  </a:lnTo>
                  <a:close/>
                  <a:moveTo>
                    <a:pt x="642" y="1323"/>
                  </a:moveTo>
                  <a:lnTo>
                    <a:pt x="636" y="1351"/>
                  </a:lnTo>
                  <a:lnTo>
                    <a:pt x="621" y="1377"/>
                  </a:lnTo>
                  <a:lnTo>
                    <a:pt x="592" y="1390"/>
                  </a:lnTo>
                  <a:lnTo>
                    <a:pt x="567" y="1365"/>
                  </a:lnTo>
                  <a:lnTo>
                    <a:pt x="569" y="1338"/>
                  </a:lnTo>
                  <a:lnTo>
                    <a:pt x="562" y="1312"/>
                  </a:lnTo>
                  <a:lnTo>
                    <a:pt x="536" y="1328"/>
                  </a:lnTo>
                  <a:lnTo>
                    <a:pt x="507" y="1333"/>
                  </a:lnTo>
                  <a:lnTo>
                    <a:pt x="486" y="1305"/>
                  </a:lnTo>
                  <a:lnTo>
                    <a:pt x="513" y="1287"/>
                  </a:lnTo>
                  <a:lnTo>
                    <a:pt x="541" y="1271"/>
                  </a:lnTo>
                  <a:lnTo>
                    <a:pt x="567" y="1269"/>
                  </a:lnTo>
                  <a:lnTo>
                    <a:pt x="595" y="1269"/>
                  </a:lnTo>
                  <a:lnTo>
                    <a:pt x="621" y="1292"/>
                  </a:lnTo>
                  <a:lnTo>
                    <a:pt x="642" y="1317"/>
                  </a:lnTo>
                  <a:lnTo>
                    <a:pt x="642" y="1323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7" name="Freeform 15"/>
            <p:cNvSpPr>
              <a:spLocks noEditPoints="1"/>
            </p:cNvSpPr>
            <p:nvPr/>
          </p:nvSpPr>
          <p:spPr bwMode="auto">
            <a:xfrm>
              <a:off x="5034685" y="2186774"/>
              <a:ext cx="901351" cy="954266"/>
            </a:xfrm>
            <a:custGeom>
              <a:avLst/>
              <a:gdLst>
                <a:gd name="T0" fmla="*/ 2147483647 w 1533"/>
                <a:gd name="T1" fmla="*/ 2147483647 h 1624"/>
                <a:gd name="T2" fmla="*/ 2147483647 w 1533"/>
                <a:gd name="T3" fmla="*/ 2147483647 h 1624"/>
                <a:gd name="T4" fmla="*/ 2147483647 w 1533"/>
                <a:gd name="T5" fmla="*/ 2147483647 h 1624"/>
                <a:gd name="T6" fmla="*/ 2147483647 w 1533"/>
                <a:gd name="T7" fmla="*/ 2147483647 h 1624"/>
                <a:gd name="T8" fmla="*/ 2147483647 w 1533"/>
                <a:gd name="T9" fmla="*/ 2147483647 h 1624"/>
                <a:gd name="T10" fmla="*/ 2147483647 w 1533"/>
                <a:gd name="T11" fmla="*/ 2147483647 h 1624"/>
                <a:gd name="T12" fmla="*/ 2147483647 w 1533"/>
                <a:gd name="T13" fmla="*/ 2147483647 h 1624"/>
                <a:gd name="T14" fmla="*/ 2147483647 w 1533"/>
                <a:gd name="T15" fmla="*/ 2147483647 h 1624"/>
                <a:gd name="T16" fmla="*/ 2147483647 w 1533"/>
                <a:gd name="T17" fmla="*/ 2147483647 h 1624"/>
                <a:gd name="T18" fmla="*/ 2147483647 w 1533"/>
                <a:gd name="T19" fmla="*/ 2147483647 h 1624"/>
                <a:gd name="T20" fmla="*/ 2147483647 w 1533"/>
                <a:gd name="T21" fmla="*/ 2147483647 h 1624"/>
                <a:gd name="T22" fmla="*/ 2147483647 w 1533"/>
                <a:gd name="T23" fmla="*/ 2147483647 h 1624"/>
                <a:gd name="T24" fmla="*/ 2147483647 w 1533"/>
                <a:gd name="T25" fmla="*/ 2147483647 h 1624"/>
                <a:gd name="T26" fmla="*/ 2147483647 w 1533"/>
                <a:gd name="T27" fmla="*/ 2147483647 h 1624"/>
                <a:gd name="T28" fmla="*/ 2147483647 w 1533"/>
                <a:gd name="T29" fmla="*/ 2147483647 h 1624"/>
                <a:gd name="T30" fmla="*/ 2147483647 w 1533"/>
                <a:gd name="T31" fmla="*/ 2147483647 h 1624"/>
                <a:gd name="T32" fmla="*/ 2147483647 w 1533"/>
                <a:gd name="T33" fmla="*/ 2147483647 h 1624"/>
                <a:gd name="T34" fmla="*/ 2147483647 w 1533"/>
                <a:gd name="T35" fmla="*/ 2147483647 h 1624"/>
                <a:gd name="T36" fmla="*/ 2147483647 w 1533"/>
                <a:gd name="T37" fmla="*/ 2147483647 h 1624"/>
                <a:gd name="T38" fmla="*/ 2147483647 w 1533"/>
                <a:gd name="T39" fmla="*/ 2147483647 h 1624"/>
                <a:gd name="T40" fmla="*/ 2147483647 w 1533"/>
                <a:gd name="T41" fmla="*/ 2147483647 h 1624"/>
                <a:gd name="T42" fmla="*/ 2147483647 w 1533"/>
                <a:gd name="T43" fmla="*/ 2147483647 h 1624"/>
                <a:gd name="T44" fmla="*/ 2147483647 w 1533"/>
                <a:gd name="T45" fmla="*/ 2147483647 h 1624"/>
                <a:gd name="T46" fmla="*/ 2147483647 w 1533"/>
                <a:gd name="T47" fmla="*/ 2147483647 h 1624"/>
                <a:gd name="T48" fmla="*/ 2147483647 w 1533"/>
                <a:gd name="T49" fmla="*/ 2147483647 h 1624"/>
                <a:gd name="T50" fmla="*/ 2147483647 w 1533"/>
                <a:gd name="T51" fmla="*/ 2147483647 h 1624"/>
                <a:gd name="T52" fmla="*/ 2147483647 w 1533"/>
                <a:gd name="T53" fmla="*/ 2147483647 h 1624"/>
                <a:gd name="T54" fmla="*/ 2147483647 w 1533"/>
                <a:gd name="T55" fmla="*/ 2147483647 h 1624"/>
                <a:gd name="T56" fmla="*/ 2147483647 w 1533"/>
                <a:gd name="T57" fmla="*/ 2147483647 h 1624"/>
                <a:gd name="T58" fmla="*/ 2147483647 w 1533"/>
                <a:gd name="T59" fmla="*/ 2147483647 h 1624"/>
                <a:gd name="T60" fmla="*/ 2147483647 w 1533"/>
                <a:gd name="T61" fmla="*/ 2147483647 h 1624"/>
                <a:gd name="T62" fmla="*/ 2147483647 w 1533"/>
                <a:gd name="T63" fmla="*/ 2147483647 h 1624"/>
                <a:gd name="T64" fmla="*/ 2147483647 w 1533"/>
                <a:gd name="T65" fmla="*/ 2147483647 h 1624"/>
                <a:gd name="T66" fmla="*/ 2147483647 w 1533"/>
                <a:gd name="T67" fmla="*/ 2147483647 h 1624"/>
                <a:gd name="T68" fmla="*/ 2147483647 w 1533"/>
                <a:gd name="T69" fmla="*/ 2147483647 h 1624"/>
                <a:gd name="T70" fmla="*/ 2147483647 w 1533"/>
                <a:gd name="T71" fmla="*/ 2147483647 h 1624"/>
                <a:gd name="T72" fmla="*/ 2147483647 w 1533"/>
                <a:gd name="T73" fmla="*/ 2147483647 h 1624"/>
                <a:gd name="T74" fmla="*/ 2147483647 w 1533"/>
                <a:gd name="T75" fmla="*/ 2147483647 h 1624"/>
                <a:gd name="T76" fmla="*/ 2147483647 w 1533"/>
                <a:gd name="T77" fmla="*/ 2147483647 h 1624"/>
                <a:gd name="T78" fmla="*/ 2147483647 w 1533"/>
                <a:gd name="T79" fmla="*/ 2147483647 h 1624"/>
                <a:gd name="T80" fmla="*/ 2147483647 w 1533"/>
                <a:gd name="T81" fmla="*/ 2147483647 h 1624"/>
                <a:gd name="T82" fmla="*/ 2147483647 w 1533"/>
                <a:gd name="T83" fmla="*/ 2147483647 h 1624"/>
                <a:gd name="T84" fmla="*/ 2147483647 w 1533"/>
                <a:gd name="T85" fmla="*/ 2147483647 h 1624"/>
                <a:gd name="T86" fmla="*/ 2147483647 w 1533"/>
                <a:gd name="T87" fmla="*/ 2147483647 h 1624"/>
                <a:gd name="T88" fmla="*/ 2147483647 w 1533"/>
                <a:gd name="T89" fmla="*/ 2147483647 h 1624"/>
                <a:gd name="T90" fmla="*/ 2147483647 w 1533"/>
                <a:gd name="T91" fmla="*/ 2147483647 h 1624"/>
                <a:gd name="T92" fmla="*/ 2147483647 w 1533"/>
                <a:gd name="T93" fmla="*/ 2147483647 h 1624"/>
                <a:gd name="T94" fmla="*/ 2147483647 w 1533"/>
                <a:gd name="T95" fmla="*/ 2147483647 h 1624"/>
                <a:gd name="T96" fmla="*/ 2147483647 w 1533"/>
                <a:gd name="T97" fmla="*/ 2147483647 h 1624"/>
                <a:gd name="T98" fmla="*/ 2147483647 w 1533"/>
                <a:gd name="T99" fmla="*/ 2147483647 h 1624"/>
                <a:gd name="T100" fmla="*/ 2147483647 w 1533"/>
                <a:gd name="T101" fmla="*/ 2147483647 h 1624"/>
                <a:gd name="T102" fmla="*/ 2147483647 w 1533"/>
                <a:gd name="T103" fmla="*/ 2147483647 h 1624"/>
                <a:gd name="T104" fmla="*/ 2147483647 w 1533"/>
                <a:gd name="T105" fmla="*/ 2147483647 h 1624"/>
                <a:gd name="T106" fmla="*/ 2147483647 w 1533"/>
                <a:gd name="T107" fmla="*/ 2147483647 h 1624"/>
                <a:gd name="T108" fmla="*/ 2147483647 w 1533"/>
                <a:gd name="T109" fmla="*/ 2147483647 h 1624"/>
                <a:gd name="T110" fmla="*/ 2147483647 w 1533"/>
                <a:gd name="T111" fmla="*/ 2147483647 h 1624"/>
                <a:gd name="T112" fmla="*/ 2147483647 w 1533"/>
                <a:gd name="T113" fmla="*/ 2147483647 h 16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33" h="1624">
                  <a:moveTo>
                    <a:pt x="996" y="1620"/>
                  </a:moveTo>
                  <a:lnTo>
                    <a:pt x="998" y="1615"/>
                  </a:lnTo>
                  <a:lnTo>
                    <a:pt x="1005" y="1610"/>
                  </a:lnTo>
                  <a:lnTo>
                    <a:pt x="1034" y="1603"/>
                  </a:lnTo>
                  <a:lnTo>
                    <a:pt x="1028" y="1574"/>
                  </a:lnTo>
                  <a:lnTo>
                    <a:pt x="1003" y="1567"/>
                  </a:lnTo>
                  <a:lnTo>
                    <a:pt x="975" y="1546"/>
                  </a:lnTo>
                  <a:lnTo>
                    <a:pt x="985" y="1520"/>
                  </a:lnTo>
                  <a:lnTo>
                    <a:pt x="977" y="1495"/>
                  </a:lnTo>
                  <a:lnTo>
                    <a:pt x="952" y="1489"/>
                  </a:lnTo>
                  <a:lnTo>
                    <a:pt x="933" y="1461"/>
                  </a:lnTo>
                  <a:lnTo>
                    <a:pt x="905" y="1451"/>
                  </a:lnTo>
                  <a:lnTo>
                    <a:pt x="884" y="1422"/>
                  </a:lnTo>
                  <a:lnTo>
                    <a:pt x="884" y="1396"/>
                  </a:lnTo>
                  <a:lnTo>
                    <a:pt x="869" y="1370"/>
                  </a:lnTo>
                  <a:lnTo>
                    <a:pt x="853" y="1344"/>
                  </a:lnTo>
                  <a:lnTo>
                    <a:pt x="832" y="1315"/>
                  </a:lnTo>
                  <a:lnTo>
                    <a:pt x="822" y="1290"/>
                  </a:lnTo>
                  <a:lnTo>
                    <a:pt x="796" y="1269"/>
                  </a:lnTo>
                  <a:lnTo>
                    <a:pt x="770" y="1243"/>
                  </a:lnTo>
                  <a:lnTo>
                    <a:pt x="744" y="1243"/>
                  </a:lnTo>
                  <a:lnTo>
                    <a:pt x="719" y="1223"/>
                  </a:lnTo>
                  <a:lnTo>
                    <a:pt x="710" y="1196"/>
                  </a:lnTo>
                  <a:lnTo>
                    <a:pt x="685" y="1179"/>
                  </a:lnTo>
                  <a:lnTo>
                    <a:pt x="664" y="1150"/>
                  </a:lnTo>
                  <a:lnTo>
                    <a:pt x="646" y="1179"/>
                  </a:lnTo>
                  <a:lnTo>
                    <a:pt x="641" y="1152"/>
                  </a:lnTo>
                  <a:lnTo>
                    <a:pt x="631" y="1126"/>
                  </a:lnTo>
                  <a:lnTo>
                    <a:pt x="638" y="1101"/>
                  </a:lnTo>
                  <a:lnTo>
                    <a:pt x="664" y="1111"/>
                  </a:lnTo>
                  <a:lnTo>
                    <a:pt x="693" y="1131"/>
                  </a:lnTo>
                  <a:lnTo>
                    <a:pt x="721" y="1158"/>
                  </a:lnTo>
                  <a:lnTo>
                    <a:pt x="747" y="1155"/>
                  </a:lnTo>
                  <a:lnTo>
                    <a:pt x="773" y="1145"/>
                  </a:lnTo>
                  <a:lnTo>
                    <a:pt x="791" y="1119"/>
                  </a:lnTo>
                  <a:lnTo>
                    <a:pt x="802" y="1092"/>
                  </a:lnTo>
                  <a:lnTo>
                    <a:pt x="830" y="1072"/>
                  </a:lnTo>
                  <a:lnTo>
                    <a:pt x="855" y="1062"/>
                  </a:lnTo>
                  <a:lnTo>
                    <a:pt x="882" y="1049"/>
                  </a:lnTo>
                  <a:lnTo>
                    <a:pt x="910" y="1044"/>
                  </a:lnTo>
                  <a:lnTo>
                    <a:pt x="936" y="1041"/>
                  </a:lnTo>
                  <a:lnTo>
                    <a:pt x="961" y="1028"/>
                  </a:lnTo>
                  <a:lnTo>
                    <a:pt x="988" y="1011"/>
                  </a:lnTo>
                  <a:lnTo>
                    <a:pt x="1014" y="997"/>
                  </a:lnTo>
                  <a:lnTo>
                    <a:pt x="1037" y="969"/>
                  </a:lnTo>
                  <a:lnTo>
                    <a:pt x="1060" y="942"/>
                  </a:lnTo>
                  <a:lnTo>
                    <a:pt x="1078" y="917"/>
                  </a:lnTo>
                  <a:lnTo>
                    <a:pt x="1104" y="894"/>
                  </a:lnTo>
                  <a:lnTo>
                    <a:pt x="1115" y="878"/>
                  </a:lnTo>
                  <a:lnTo>
                    <a:pt x="1138" y="852"/>
                  </a:lnTo>
                  <a:lnTo>
                    <a:pt x="1155" y="824"/>
                  </a:lnTo>
                  <a:lnTo>
                    <a:pt x="1166" y="797"/>
                  </a:lnTo>
                  <a:lnTo>
                    <a:pt x="1192" y="792"/>
                  </a:lnTo>
                  <a:lnTo>
                    <a:pt x="1221" y="790"/>
                  </a:lnTo>
                  <a:lnTo>
                    <a:pt x="1246" y="788"/>
                  </a:lnTo>
                  <a:lnTo>
                    <a:pt x="1274" y="772"/>
                  </a:lnTo>
                  <a:lnTo>
                    <a:pt x="1282" y="800"/>
                  </a:lnTo>
                  <a:lnTo>
                    <a:pt x="1309" y="827"/>
                  </a:lnTo>
                  <a:lnTo>
                    <a:pt x="1334" y="845"/>
                  </a:lnTo>
                  <a:lnTo>
                    <a:pt x="1360" y="836"/>
                  </a:lnTo>
                  <a:lnTo>
                    <a:pt x="1371" y="811"/>
                  </a:lnTo>
                  <a:lnTo>
                    <a:pt x="1376" y="785"/>
                  </a:lnTo>
                  <a:lnTo>
                    <a:pt x="1385" y="756"/>
                  </a:lnTo>
                  <a:lnTo>
                    <a:pt x="1385" y="730"/>
                  </a:lnTo>
                  <a:lnTo>
                    <a:pt x="1376" y="705"/>
                  </a:lnTo>
                  <a:lnTo>
                    <a:pt x="1350" y="691"/>
                  </a:lnTo>
                  <a:lnTo>
                    <a:pt x="1321" y="677"/>
                  </a:lnTo>
                  <a:lnTo>
                    <a:pt x="1295" y="673"/>
                  </a:lnTo>
                  <a:lnTo>
                    <a:pt x="1270" y="673"/>
                  </a:lnTo>
                  <a:lnTo>
                    <a:pt x="1240" y="686"/>
                  </a:lnTo>
                  <a:lnTo>
                    <a:pt x="1215" y="689"/>
                  </a:lnTo>
                  <a:lnTo>
                    <a:pt x="1189" y="691"/>
                  </a:lnTo>
                  <a:lnTo>
                    <a:pt x="1161" y="697"/>
                  </a:lnTo>
                  <a:lnTo>
                    <a:pt x="1134" y="710"/>
                  </a:lnTo>
                  <a:lnTo>
                    <a:pt x="1161" y="718"/>
                  </a:lnTo>
                  <a:lnTo>
                    <a:pt x="1189" y="723"/>
                  </a:lnTo>
                  <a:lnTo>
                    <a:pt x="1215" y="739"/>
                  </a:lnTo>
                  <a:lnTo>
                    <a:pt x="1187" y="744"/>
                  </a:lnTo>
                  <a:lnTo>
                    <a:pt x="1161" y="746"/>
                  </a:lnTo>
                  <a:lnTo>
                    <a:pt x="1134" y="756"/>
                  </a:lnTo>
                  <a:lnTo>
                    <a:pt x="1106" y="741"/>
                  </a:lnTo>
                  <a:lnTo>
                    <a:pt x="1081" y="749"/>
                  </a:lnTo>
                  <a:lnTo>
                    <a:pt x="1055" y="741"/>
                  </a:lnTo>
                  <a:lnTo>
                    <a:pt x="1028" y="744"/>
                  </a:lnTo>
                  <a:lnTo>
                    <a:pt x="975" y="744"/>
                  </a:lnTo>
                  <a:lnTo>
                    <a:pt x="947" y="746"/>
                  </a:lnTo>
                  <a:lnTo>
                    <a:pt x="931" y="772"/>
                  </a:lnTo>
                  <a:lnTo>
                    <a:pt x="920" y="800"/>
                  </a:lnTo>
                  <a:lnTo>
                    <a:pt x="894" y="797"/>
                  </a:lnTo>
                  <a:lnTo>
                    <a:pt x="866" y="808"/>
                  </a:lnTo>
                  <a:lnTo>
                    <a:pt x="841" y="811"/>
                  </a:lnTo>
                  <a:lnTo>
                    <a:pt x="814" y="806"/>
                  </a:lnTo>
                  <a:lnTo>
                    <a:pt x="786" y="808"/>
                  </a:lnTo>
                  <a:lnTo>
                    <a:pt x="760" y="788"/>
                  </a:lnTo>
                  <a:lnTo>
                    <a:pt x="740" y="758"/>
                  </a:lnTo>
                  <a:lnTo>
                    <a:pt x="714" y="774"/>
                  </a:lnTo>
                  <a:lnTo>
                    <a:pt x="685" y="795"/>
                  </a:lnTo>
                  <a:lnTo>
                    <a:pt x="667" y="821"/>
                  </a:lnTo>
                  <a:lnTo>
                    <a:pt x="664" y="827"/>
                  </a:lnTo>
                  <a:lnTo>
                    <a:pt x="638" y="850"/>
                  </a:lnTo>
                  <a:lnTo>
                    <a:pt x="623" y="875"/>
                  </a:lnTo>
                  <a:lnTo>
                    <a:pt x="597" y="898"/>
                  </a:lnTo>
                  <a:lnTo>
                    <a:pt x="590" y="928"/>
                  </a:lnTo>
                  <a:lnTo>
                    <a:pt x="576" y="953"/>
                  </a:lnTo>
                  <a:lnTo>
                    <a:pt x="551" y="976"/>
                  </a:lnTo>
                  <a:lnTo>
                    <a:pt x="540" y="976"/>
                  </a:lnTo>
                  <a:lnTo>
                    <a:pt x="514" y="963"/>
                  </a:lnTo>
                  <a:lnTo>
                    <a:pt x="489" y="969"/>
                  </a:lnTo>
                  <a:lnTo>
                    <a:pt x="460" y="948"/>
                  </a:lnTo>
                  <a:lnTo>
                    <a:pt x="434" y="956"/>
                  </a:lnTo>
                  <a:lnTo>
                    <a:pt x="431" y="958"/>
                  </a:lnTo>
                  <a:lnTo>
                    <a:pt x="403" y="958"/>
                  </a:lnTo>
                  <a:lnTo>
                    <a:pt x="396" y="933"/>
                  </a:lnTo>
                  <a:lnTo>
                    <a:pt x="369" y="907"/>
                  </a:lnTo>
                  <a:lnTo>
                    <a:pt x="375" y="878"/>
                  </a:lnTo>
                  <a:lnTo>
                    <a:pt x="369" y="852"/>
                  </a:lnTo>
                  <a:lnTo>
                    <a:pt x="354" y="826"/>
                  </a:lnTo>
                  <a:lnTo>
                    <a:pt x="328" y="806"/>
                  </a:lnTo>
                  <a:lnTo>
                    <a:pt x="302" y="797"/>
                  </a:lnTo>
                  <a:lnTo>
                    <a:pt x="274" y="800"/>
                  </a:lnTo>
                  <a:lnTo>
                    <a:pt x="251" y="774"/>
                  </a:lnTo>
                  <a:lnTo>
                    <a:pt x="230" y="749"/>
                  </a:lnTo>
                  <a:lnTo>
                    <a:pt x="212" y="723"/>
                  </a:lnTo>
                  <a:lnTo>
                    <a:pt x="199" y="694"/>
                  </a:lnTo>
                  <a:lnTo>
                    <a:pt x="196" y="668"/>
                  </a:lnTo>
                  <a:lnTo>
                    <a:pt x="191" y="642"/>
                  </a:lnTo>
                  <a:lnTo>
                    <a:pt x="189" y="617"/>
                  </a:lnTo>
                  <a:lnTo>
                    <a:pt x="178" y="590"/>
                  </a:lnTo>
                  <a:lnTo>
                    <a:pt x="173" y="562"/>
                  </a:lnTo>
                  <a:lnTo>
                    <a:pt x="173" y="541"/>
                  </a:lnTo>
                  <a:lnTo>
                    <a:pt x="180" y="525"/>
                  </a:lnTo>
                  <a:lnTo>
                    <a:pt x="180" y="500"/>
                  </a:lnTo>
                  <a:lnTo>
                    <a:pt x="201" y="474"/>
                  </a:lnTo>
                  <a:lnTo>
                    <a:pt x="204" y="467"/>
                  </a:lnTo>
                  <a:lnTo>
                    <a:pt x="207" y="438"/>
                  </a:lnTo>
                  <a:lnTo>
                    <a:pt x="217" y="412"/>
                  </a:lnTo>
                  <a:lnTo>
                    <a:pt x="240" y="386"/>
                  </a:lnTo>
                  <a:lnTo>
                    <a:pt x="256" y="357"/>
                  </a:lnTo>
                  <a:lnTo>
                    <a:pt x="279" y="332"/>
                  </a:lnTo>
                  <a:lnTo>
                    <a:pt x="305" y="306"/>
                  </a:lnTo>
                  <a:lnTo>
                    <a:pt x="330" y="297"/>
                  </a:lnTo>
                  <a:lnTo>
                    <a:pt x="357" y="288"/>
                  </a:lnTo>
                  <a:lnTo>
                    <a:pt x="385" y="285"/>
                  </a:lnTo>
                  <a:lnTo>
                    <a:pt x="411" y="288"/>
                  </a:lnTo>
                  <a:lnTo>
                    <a:pt x="436" y="303"/>
                  </a:lnTo>
                  <a:lnTo>
                    <a:pt x="465" y="311"/>
                  </a:lnTo>
                  <a:lnTo>
                    <a:pt x="493" y="327"/>
                  </a:lnTo>
                  <a:lnTo>
                    <a:pt x="519" y="316"/>
                  </a:lnTo>
                  <a:lnTo>
                    <a:pt x="548" y="327"/>
                  </a:lnTo>
                  <a:lnTo>
                    <a:pt x="574" y="318"/>
                  </a:lnTo>
                  <a:lnTo>
                    <a:pt x="599" y="311"/>
                  </a:lnTo>
                  <a:lnTo>
                    <a:pt x="615" y="308"/>
                  </a:lnTo>
                  <a:lnTo>
                    <a:pt x="613" y="304"/>
                  </a:lnTo>
                  <a:lnTo>
                    <a:pt x="611" y="300"/>
                  </a:lnTo>
                  <a:lnTo>
                    <a:pt x="610" y="299"/>
                  </a:lnTo>
                  <a:lnTo>
                    <a:pt x="604" y="290"/>
                  </a:lnTo>
                  <a:lnTo>
                    <a:pt x="588" y="269"/>
                  </a:lnTo>
                  <a:lnTo>
                    <a:pt x="556" y="230"/>
                  </a:lnTo>
                  <a:lnTo>
                    <a:pt x="548" y="218"/>
                  </a:lnTo>
                  <a:lnTo>
                    <a:pt x="542" y="207"/>
                  </a:lnTo>
                  <a:lnTo>
                    <a:pt x="541" y="203"/>
                  </a:lnTo>
                  <a:lnTo>
                    <a:pt x="540" y="199"/>
                  </a:lnTo>
                  <a:lnTo>
                    <a:pt x="539" y="195"/>
                  </a:lnTo>
                  <a:lnTo>
                    <a:pt x="540" y="190"/>
                  </a:lnTo>
                  <a:lnTo>
                    <a:pt x="542" y="184"/>
                  </a:lnTo>
                  <a:lnTo>
                    <a:pt x="546" y="179"/>
                  </a:lnTo>
                  <a:lnTo>
                    <a:pt x="551" y="174"/>
                  </a:lnTo>
                  <a:lnTo>
                    <a:pt x="557" y="169"/>
                  </a:lnTo>
                  <a:lnTo>
                    <a:pt x="563" y="167"/>
                  </a:lnTo>
                  <a:lnTo>
                    <a:pt x="571" y="164"/>
                  </a:lnTo>
                  <a:lnTo>
                    <a:pt x="577" y="163"/>
                  </a:lnTo>
                  <a:lnTo>
                    <a:pt x="583" y="161"/>
                  </a:lnTo>
                  <a:lnTo>
                    <a:pt x="594" y="160"/>
                  </a:lnTo>
                  <a:lnTo>
                    <a:pt x="598" y="160"/>
                  </a:lnTo>
                  <a:lnTo>
                    <a:pt x="608" y="160"/>
                  </a:lnTo>
                  <a:lnTo>
                    <a:pt x="633" y="160"/>
                  </a:lnTo>
                  <a:lnTo>
                    <a:pt x="669" y="161"/>
                  </a:lnTo>
                  <a:lnTo>
                    <a:pt x="715" y="161"/>
                  </a:lnTo>
                  <a:lnTo>
                    <a:pt x="764" y="161"/>
                  </a:lnTo>
                  <a:lnTo>
                    <a:pt x="812" y="160"/>
                  </a:lnTo>
                  <a:lnTo>
                    <a:pt x="855" y="159"/>
                  </a:lnTo>
                  <a:lnTo>
                    <a:pt x="890" y="157"/>
                  </a:lnTo>
                  <a:lnTo>
                    <a:pt x="902" y="155"/>
                  </a:lnTo>
                  <a:lnTo>
                    <a:pt x="913" y="153"/>
                  </a:lnTo>
                  <a:lnTo>
                    <a:pt x="920" y="150"/>
                  </a:lnTo>
                  <a:lnTo>
                    <a:pt x="927" y="146"/>
                  </a:lnTo>
                  <a:lnTo>
                    <a:pt x="930" y="143"/>
                  </a:lnTo>
                  <a:lnTo>
                    <a:pt x="932" y="139"/>
                  </a:lnTo>
                  <a:lnTo>
                    <a:pt x="933" y="135"/>
                  </a:lnTo>
                  <a:lnTo>
                    <a:pt x="932" y="130"/>
                  </a:lnTo>
                  <a:lnTo>
                    <a:pt x="929" y="123"/>
                  </a:lnTo>
                  <a:lnTo>
                    <a:pt x="925" y="116"/>
                  </a:lnTo>
                  <a:lnTo>
                    <a:pt x="920" y="112"/>
                  </a:lnTo>
                  <a:lnTo>
                    <a:pt x="918" y="109"/>
                  </a:lnTo>
                  <a:lnTo>
                    <a:pt x="920" y="107"/>
                  </a:lnTo>
                  <a:lnTo>
                    <a:pt x="923" y="106"/>
                  </a:lnTo>
                  <a:lnTo>
                    <a:pt x="922" y="106"/>
                  </a:lnTo>
                  <a:lnTo>
                    <a:pt x="894" y="101"/>
                  </a:lnTo>
                  <a:lnTo>
                    <a:pt x="869" y="112"/>
                  </a:lnTo>
                  <a:lnTo>
                    <a:pt x="853" y="85"/>
                  </a:lnTo>
                  <a:lnTo>
                    <a:pt x="827" y="91"/>
                  </a:lnTo>
                  <a:lnTo>
                    <a:pt x="799" y="94"/>
                  </a:lnTo>
                  <a:lnTo>
                    <a:pt x="770" y="99"/>
                  </a:lnTo>
                  <a:lnTo>
                    <a:pt x="744" y="99"/>
                  </a:lnTo>
                  <a:lnTo>
                    <a:pt x="719" y="96"/>
                  </a:lnTo>
                  <a:lnTo>
                    <a:pt x="690" y="70"/>
                  </a:lnTo>
                  <a:lnTo>
                    <a:pt x="682" y="44"/>
                  </a:lnTo>
                  <a:lnTo>
                    <a:pt x="680" y="18"/>
                  </a:lnTo>
                  <a:lnTo>
                    <a:pt x="654" y="34"/>
                  </a:lnTo>
                  <a:lnTo>
                    <a:pt x="625" y="39"/>
                  </a:lnTo>
                  <a:lnTo>
                    <a:pt x="599" y="29"/>
                  </a:lnTo>
                  <a:lnTo>
                    <a:pt x="571" y="11"/>
                  </a:lnTo>
                  <a:lnTo>
                    <a:pt x="546" y="8"/>
                  </a:lnTo>
                  <a:lnTo>
                    <a:pt x="516" y="0"/>
                  </a:lnTo>
                  <a:lnTo>
                    <a:pt x="491" y="0"/>
                  </a:lnTo>
                  <a:lnTo>
                    <a:pt x="463" y="8"/>
                  </a:lnTo>
                  <a:lnTo>
                    <a:pt x="465" y="36"/>
                  </a:lnTo>
                  <a:lnTo>
                    <a:pt x="457" y="62"/>
                  </a:lnTo>
                  <a:lnTo>
                    <a:pt x="454" y="91"/>
                  </a:lnTo>
                  <a:lnTo>
                    <a:pt x="436" y="117"/>
                  </a:lnTo>
                  <a:lnTo>
                    <a:pt x="410" y="129"/>
                  </a:lnTo>
                  <a:lnTo>
                    <a:pt x="392" y="156"/>
                  </a:lnTo>
                  <a:lnTo>
                    <a:pt x="390" y="181"/>
                  </a:lnTo>
                  <a:lnTo>
                    <a:pt x="362" y="189"/>
                  </a:lnTo>
                  <a:lnTo>
                    <a:pt x="336" y="191"/>
                  </a:lnTo>
                  <a:lnTo>
                    <a:pt x="307" y="179"/>
                  </a:lnTo>
                  <a:lnTo>
                    <a:pt x="295" y="150"/>
                  </a:lnTo>
                  <a:lnTo>
                    <a:pt x="290" y="124"/>
                  </a:lnTo>
                  <a:lnTo>
                    <a:pt x="261" y="140"/>
                  </a:lnTo>
                  <a:lnTo>
                    <a:pt x="258" y="166"/>
                  </a:lnTo>
                  <a:lnTo>
                    <a:pt x="245" y="195"/>
                  </a:lnTo>
                  <a:lnTo>
                    <a:pt x="217" y="210"/>
                  </a:lnTo>
                  <a:lnTo>
                    <a:pt x="191" y="218"/>
                  </a:lnTo>
                  <a:lnTo>
                    <a:pt x="180" y="244"/>
                  </a:lnTo>
                  <a:lnTo>
                    <a:pt x="189" y="272"/>
                  </a:lnTo>
                  <a:lnTo>
                    <a:pt x="173" y="297"/>
                  </a:lnTo>
                  <a:lnTo>
                    <a:pt x="163" y="301"/>
                  </a:lnTo>
                  <a:lnTo>
                    <a:pt x="136" y="324"/>
                  </a:lnTo>
                  <a:lnTo>
                    <a:pt x="122" y="352"/>
                  </a:lnTo>
                  <a:lnTo>
                    <a:pt x="122" y="380"/>
                  </a:lnTo>
                  <a:lnTo>
                    <a:pt x="95" y="391"/>
                  </a:lnTo>
                  <a:lnTo>
                    <a:pt x="111" y="419"/>
                  </a:lnTo>
                  <a:lnTo>
                    <a:pt x="131" y="446"/>
                  </a:lnTo>
                  <a:lnTo>
                    <a:pt x="126" y="474"/>
                  </a:lnTo>
                  <a:lnTo>
                    <a:pt x="118" y="497"/>
                  </a:lnTo>
                  <a:lnTo>
                    <a:pt x="92" y="500"/>
                  </a:lnTo>
                  <a:lnTo>
                    <a:pt x="72" y="474"/>
                  </a:lnTo>
                  <a:lnTo>
                    <a:pt x="41" y="474"/>
                  </a:lnTo>
                  <a:lnTo>
                    <a:pt x="49" y="497"/>
                  </a:lnTo>
                  <a:lnTo>
                    <a:pt x="74" y="518"/>
                  </a:lnTo>
                  <a:lnTo>
                    <a:pt x="101" y="513"/>
                  </a:lnTo>
                  <a:lnTo>
                    <a:pt x="106" y="539"/>
                  </a:lnTo>
                  <a:lnTo>
                    <a:pt x="92" y="567"/>
                  </a:lnTo>
                  <a:lnTo>
                    <a:pt x="90" y="593"/>
                  </a:lnTo>
                  <a:lnTo>
                    <a:pt x="88" y="619"/>
                  </a:lnTo>
                  <a:lnTo>
                    <a:pt x="88" y="645"/>
                  </a:lnTo>
                  <a:lnTo>
                    <a:pt x="97" y="673"/>
                  </a:lnTo>
                  <a:lnTo>
                    <a:pt x="103" y="702"/>
                  </a:lnTo>
                  <a:lnTo>
                    <a:pt x="122" y="728"/>
                  </a:lnTo>
                  <a:lnTo>
                    <a:pt x="127" y="756"/>
                  </a:lnTo>
                  <a:lnTo>
                    <a:pt x="118" y="782"/>
                  </a:lnTo>
                  <a:lnTo>
                    <a:pt x="113" y="776"/>
                  </a:lnTo>
                  <a:lnTo>
                    <a:pt x="101" y="751"/>
                  </a:lnTo>
                  <a:lnTo>
                    <a:pt x="90" y="725"/>
                  </a:lnTo>
                  <a:lnTo>
                    <a:pt x="80" y="697"/>
                  </a:lnTo>
                  <a:lnTo>
                    <a:pt x="54" y="720"/>
                  </a:lnTo>
                  <a:lnTo>
                    <a:pt x="49" y="746"/>
                  </a:lnTo>
                  <a:lnTo>
                    <a:pt x="20" y="769"/>
                  </a:lnTo>
                  <a:lnTo>
                    <a:pt x="12" y="774"/>
                  </a:lnTo>
                  <a:lnTo>
                    <a:pt x="0" y="800"/>
                  </a:lnTo>
                  <a:lnTo>
                    <a:pt x="11" y="775"/>
                  </a:lnTo>
                  <a:lnTo>
                    <a:pt x="19" y="779"/>
                  </a:lnTo>
                  <a:lnTo>
                    <a:pt x="19" y="786"/>
                  </a:lnTo>
                  <a:lnTo>
                    <a:pt x="21" y="805"/>
                  </a:lnTo>
                  <a:lnTo>
                    <a:pt x="25" y="831"/>
                  </a:lnTo>
                  <a:lnTo>
                    <a:pt x="29" y="863"/>
                  </a:lnTo>
                  <a:lnTo>
                    <a:pt x="36" y="900"/>
                  </a:lnTo>
                  <a:lnTo>
                    <a:pt x="44" y="936"/>
                  </a:lnTo>
                  <a:lnTo>
                    <a:pt x="48" y="954"/>
                  </a:lnTo>
                  <a:lnTo>
                    <a:pt x="53" y="970"/>
                  </a:lnTo>
                  <a:lnTo>
                    <a:pt x="59" y="985"/>
                  </a:lnTo>
                  <a:lnTo>
                    <a:pt x="64" y="998"/>
                  </a:lnTo>
                  <a:lnTo>
                    <a:pt x="75" y="1024"/>
                  </a:lnTo>
                  <a:lnTo>
                    <a:pt x="85" y="1051"/>
                  </a:lnTo>
                  <a:lnTo>
                    <a:pt x="92" y="1079"/>
                  </a:lnTo>
                  <a:lnTo>
                    <a:pt x="98" y="1104"/>
                  </a:lnTo>
                  <a:lnTo>
                    <a:pt x="103" y="1127"/>
                  </a:lnTo>
                  <a:lnTo>
                    <a:pt x="106" y="1145"/>
                  </a:lnTo>
                  <a:lnTo>
                    <a:pt x="108" y="1156"/>
                  </a:lnTo>
                  <a:lnTo>
                    <a:pt x="109" y="1161"/>
                  </a:lnTo>
                  <a:lnTo>
                    <a:pt x="109" y="1164"/>
                  </a:lnTo>
                  <a:lnTo>
                    <a:pt x="118" y="1161"/>
                  </a:lnTo>
                  <a:lnTo>
                    <a:pt x="138" y="1155"/>
                  </a:lnTo>
                  <a:lnTo>
                    <a:pt x="168" y="1148"/>
                  </a:lnTo>
                  <a:lnTo>
                    <a:pt x="201" y="1141"/>
                  </a:lnTo>
                  <a:lnTo>
                    <a:pt x="219" y="1139"/>
                  </a:lnTo>
                  <a:lnTo>
                    <a:pt x="236" y="1135"/>
                  </a:lnTo>
                  <a:lnTo>
                    <a:pt x="253" y="1133"/>
                  </a:lnTo>
                  <a:lnTo>
                    <a:pt x="270" y="1132"/>
                  </a:lnTo>
                  <a:lnTo>
                    <a:pt x="284" y="1132"/>
                  </a:lnTo>
                  <a:lnTo>
                    <a:pt x="297" y="1134"/>
                  </a:lnTo>
                  <a:lnTo>
                    <a:pt x="302" y="1135"/>
                  </a:lnTo>
                  <a:lnTo>
                    <a:pt x="307" y="1137"/>
                  </a:lnTo>
                  <a:lnTo>
                    <a:pt x="312" y="1139"/>
                  </a:lnTo>
                  <a:lnTo>
                    <a:pt x="315" y="1142"/>
                  </a:lnTo>
                  <a:lnTo>
                    <a:pt x="322" y="1148"/>
                  </a:lnTo>
                  <a:lnTo>
                    <a:pt x="329" y="1155"/>
                  </a:lnTo>
                  <a:lnTo>
                    <a:pt x="337" y="1165"/>
                  </a:lnTo>
                  <a:lnTo>
                    <a:pt x="345" y="1175"/>
                  </a:lnTo>
                  <a:lnTo>
                    <a:pt x="363" y="1200"/>
                  </a:lnTo>
                  <a:lnTo>
                    <a:pt x="385" y="1225"/>
                  </a:lnTo>
                  <a:lnTo>
                    <a:pt x="397" y="1237"/>
                  </a:lnTo>
                  <a:lnTo>
                    <a:pt x="409" y="1249"/>
                  </a:lnTo>
                  <a:lnTo>
                    <a:pt x="423" y="1260"/>
                  </a:lnTo>
                  <a:lnTo>
                    <a:pt x="438" y="1271"/>
                  </a:lnTo>
                  <a:lnTo>
                    <a:pt x="453" y="1280"/>
                  </a:lnTo>
                  <a:lnTo>
                    <a:pt x="471" y="1289"/>
                  </a:lnTo>
                  <a:lnTo>
                    <a:pt x="479" y="1292"/>
                  </a:lnTo>
                  <a:lnTo>
                    <a:pt x="489" y="1295"/>
                  </a:lnTo>
                  <a:lnTo>
                    <a:pt x="498" y="1298"/>
                  </a:lnTo>
                  <a:lnTo>
                    <a:pt x="509" y="1300"/>
                  </a:lnTo>
                  <a:lnTo>
                    <a:pt x="529" y="1305"/>
                  </a:lnTo>
                  <a:lnTo>
                    <a:pt x="550" y="1310"/>
                  </a:lnTo>
                  <a:lnTo>
                    <a:pt x="570" y="1316"/>
                  </a:lnTo>
                  <a:lnTo>
                    <a:pt x="590" y="1322"/>
                  </a:lnTo>
                  <a:lnTo>
                    <a:pt x="627" y="1337"/>
                  </a:lnTo>
                  <a:lnTo>
                    <a:pt x="662" y="1353"/>
                  </a:lnTo>
                  <a:lnTo>
                    <a:pt x="692" y="1369"/>
                  </a:lnTo>
                  <a:lnTo>
                    <a:pt x="714" y="1380"/>
                  </a:lnTo>
                  <a:lnTo>
                    <a:pt x="729" y="1389"/>
                  </a:lnTo>
                  <a:lnTo>
                    <a:pt x="735" y="1392"/>
                  </a:lnTo>
                  <a:lnTo>
                    <a:pt x="739" y="1394"/>
                  </a:lnTo>
                  <a:lnTo>
                    <a:pt x="749" y="1400"/>
                  </a:lnTo>
                  <a:lnTo>
                    <a:pt x="764" y="1409"/>
                  </a:lnTo>
                  <a:lnTo>
                    <a:pt x="780" y="1419"/>
                  </a:lnTo>
                  <a:lnTo>
                    <a:pt x="786" y="1425"/>
                  </a:lnTo>
                  <a:lnTo>
                    <a:pt x="792" y="1432"/>
                  </a:lnTo>
                  <a:lnTo>
                    <a:pt x="798" y="1439"/>
                  </a:lnTo>
                  <a:lnTo>
                    <a:pt x="801" y="1446"/>
                  </a:lnTo>
                  <a:lnTo>
                    <a:pt x="802" y="1449"/>
                  </a:lnTo>
                  <a:lnTo>
                    <a:pt x="803" y="1453"/>
                  </a:lnTo>
                  <a:lnTo>
                    <a:pt x="803" y="1457"/>
                  </a:lnTo>
                  <a:lnTo>
                    <a:pt x="802" y="1460"/>
                  </a:lnTo>
                  <a:lnTo>
                    <a:pt x="800" y="1464"/>
                  </a:lnTo>
                  <a:lnTo>
                    <a:pt x="798" y="1467"/>
                  </a:lnTo>
                  <a:lnTo>
                    <a:pt x="795" y="1472"/>
                  </a:lnTo>
                  <a:lnTo>
                    <a:pt x="791" y="1475"/>
                  </a:lnTo>
                  <a:lnTo>
                    <a:pt x="765" y="1498"/>
                  </a:lnTo>
                  <a:lnTo>
                    <a:pt x="751" y="1511"/>
                  </a:lnTo>
                  <a:lnTo>
                    <a:pt x="746" y="1519"/>
                  </a:lnTo>
                  <a:lnTo>
                    <a:pt x="745" y="1520"/>
                  </a:lnTo>
                  <a:lnTo>
                    <a:pt x="745" y="1521"/>
                  </a:lnTo>
                  <a:lnTo>
                    <a:pt x="757" y="1523"/>
                  </a:lnTo>
                  <a:lnTo>
                    <a:pt x="769" y="1526"/>
                  </a:lnTo>
                  <a:lnTo>
                    <a:pt x="784" y="1531"/>
                  </a:lnTo>
                  <a:lnTo>
                    <a:pt x="801" y="1539"/>
                  </a:lnTo>
                  <a:lnTo>
                    <a:pt x="832" y="1553"/>
                  </a:lnTo>
                  <a:lnTo>
                    <a:pt x="865" y="1568"/>
                  </a:lnTo>
                  <a:lnTo>
                    <a:pt x="896" y="1582"/>
                  </a:lnTo>
                  <a:lnTo>
                    <a:pt x="926" y="1595"/>
                  </a:lnTo>
                  <a:lnTo>
                    <a:pt x="951" y="1607"/>
                  </a:lnTo>
                  <a:lnTo>
                    <a:pt x="971" y="1616"/>
                  </a:lnTo>
                  <a:lnTo>
                    <a:pt x="983" y="1622"/>
                  </a:lnTo>
                  <a:lnTo>
                    <a:pt x="989" y="1624"/>
                  </a:lnTo>
                  <a:lnTo>
                    <a:pt x="991" y="1621"/>
                  </a:lnTo>
                  <a:lnTo>
                    <a:pt x="992" y="1619"/>
                  </a:lnTo>
                  <a:lnTo>
                    <a:pt x="993" y="1619"/>
                  </a:lnTo>
                  <a:lnTo>
                    <a:pt x="994" y="1619"/>
                  </a:lnTo>
                  <a:lnTo>
                    <a:pt x="995" y="1619"/>
                  </a:lnTo>
                  <a:lnTo>
                    <a:pt x="996" y="1620"/>
                  </a:lnTo>
                  <a:close/>
                  <a:moveTo>
                    <a:pt x="754" y="528"/>
                  </a:moveTo>
                  <a:lnTo>
                    <a:pt x="726" y="539"/>
                  </a:lnTo>
                  <a:lnTo>
                    <a:pt x="754" y="523"/>
                  </a:lnTo>
                  <a:lnTo>
                    <a:pt x="754" y="528"/>
                  </a:lnTo>
                  <a:close/>
                  <a:moveTo>
                    <a:pt x="1009" y="567"/>
                  </a:moveTo>
                  <a:lnTo>
                    <a:pt x="1011" y="594"/>
                  </a:lnTo>
                  <a:lnTo>
                    <a:pt x="991" y="567"/>
                  </a:lnTo>
                  <a:lnTo>
                    <a:pt x="961" y="552"/>
                  </a:lnTo>
                  <a:lnTo>
                    <a:pt x="988" y="555"/>
                  </a:lnTo>
                  <a:lnTo>
                    <a:pt x="1009" y="567"/>
                  </a:lnTo>
                  <a:close/>
                  <a:moveTo>
                    <a:pt x="926" y="596"/>
                  </a:moveTo>
                  <a:lnTo>
                    <a:pt x="899" y="599"/>
                  </a:lnTo>
                  <a:lnTo>
                    <a:pt x="905" y="573"/>
                  </a:lnTo>
                  <a:lnTo>
                    <a:pt x="926" y="596"/>
                  </a:lnTo>
                  <a:close/>
                  <a:moveTo>
                    <a:pt x="897" y="606"/>
                  </a:moveTo>
                  <a:lnTo>
                    <a:pt x="869" y="622"/>
                  </a:lnTo>
                  <a:lnTo>
                    <a:pt x="843" y="619"/>
                  </a:lnTo>
                  <a:lnTo>
                    <a:pt x="835" y="594"/>
                  </a:lnTo>
                  <a:lnTo>
                    <a:pt x="861" y="583"/>
                  </a:lnTo>
                  <a:lnTo>
                    <a:pt x="889" y="590"/>
                  </a:lnTo>
                  <a:lnTo>
                    <a:pt x="897" y="606"/>
                  </a:lnTo>
                  <a:close/>
                  <a:moveTo>
                    <a:pt x="1533" y="1163"/>
                  </a:moveTo>
                  <a:lnTo>
                    <a:pt x="1507" y="1163"/>
                  </a:lnTo>
                  <a:lnTo>
                    <a:pt x="1507" y="1137"/>
                  </a:lnTo>
                  <a:lnTo>
                    <a:pt x="1533" y="1163"/>
                  </a:lnTo>
                  <a:close/>
                  <a:moveTo>
                    <a:pt x="1282" y="1124"/>
                  </a:moveTo>
                  <a:lnTo>
                    <a:pt x="1256" y="1147"/>
                  </a:lnTo>
                  <a:lnTo>
                    <a:pt x="1254" y="1119"/>
                  </a:lnTo>
                  <a:lnTo>
                    <a:pt x="1267" y="1093"/>
                  </a:lnTo>
                  <a:lnTo>
                    <a:pt x="1285" y="1119"/>
                  </a:lnTo>
                  <a:lnTo>
                    <a:pt x="1282" y="1124"/>
                  </a:lnTo>
                  <a:close/>
                  <a:moveTo>
                    <a:pt x="1365" y="1069"/>
                  </a:moveTo>
                  <a:lnTo>
                    <a:pt x="1346" y="1096"/>
                  </a:lnTo>
                  <a:lnTo>
                    <a:pt x="1352" y="1069"/>
                  </a:lnTo>
                  <a:lnTo>
                    <a:pt x="1365" y="1069"/>
                  </a:lnTo>
                  <a:close/>
                  <a:moveTo>
                    <a:pt x="848" y="640"/>
                  </a:moveTo>
                  <a:lnTo>
                    <a:pt x="820" y="645"/>
                  </a:lnTo>
                  <a:lnTo>
                    <a:pt x="793" y="645"/>
                  </a:lnTo>
                  <a:lnTo>
                    <a:pt x="765" y="668"/>
                  </a:lnTo>
                  <a:lnTo>
                    <a:pt x="765" y="640"/>
                  </a:lnTo>
                  <a:lnTo>
                    <a:pt x="793" y="617"/>
                  </a:lnTo>
                  <a:lnTo>
                    <a:pt x="820" y="619"/>
                  </a:lnTo>
                  <a:lnTo>
                    <a:pt x="846" y="635"/>
                  </a:lnTo>
                  <a:lnTo>
                    <a:pt x="848" y="640"/>
                  </a:lnTo>
                  <a:close/>
                  <a:moveTo>
                    <a:pt x="1316" y="1051"/>
                  </a:moveTo>
                  <a:lnTo>
                    <a:pt x="1318" y="1025"/>
                  </a:lnTo>
                  <a:lnTo>
                    <a:pt x="1321" y="997"/>
                  </a:lnTo>
                  <a:lnTo>
                    <a:pt x="1346" y="987"/>
                  </a:lnTo>
                  <a:lnTo>
                    <a:pt x="1376" y="1011"/>
                  </a:lnTo>
                  <a:lnTo>
                    <a:pt x="1401" y="995"/>
                  </a:lnTo>
                  <a:lnTo>
                    <a:pt x="1419" y="966"/>
                  </a:lnTo>
                  <a:lnTo>
                    <a:pt x="1427" y="940"/>
                  </a:lnTo>
                  <a:lnTo>
                    <a:pt x="1399" y="917"/>
                  </a:lnTo>
                  <a:lnTo>
                    <a:pt x="1373" y="907"/>
                  </a:lnTo>
                  <a:lnTo>
                    <a:pt x="1346" y="928"/>
                  </a:lnTo>
                  <a:lnTo>
                    <a:pt x="1329" y="953"/>
                  </a:lnTo>
                  <a:lnTo>
                    <a:pt x="1300" y="935"/>
                  </a:lnTo>
                  <a:lnTo>
                    <a:pt x="1316" y="907"/>
                  </a:lnTo>
                  <a:lnTo>
                    <a:pt x="1300" y="880"/>
                  </a:lnTo>
                  <a:lnTo>
                    <a:pt x="1274" y="889"/>
                  </a:lnTo>
                  <a:lnTo>
                    <a:pt x="1246" y="886"/>
                  </a:lnTo>
                  <a:lnTo>
                    <a:pt x="1217" y="894"/>
                  </a:lnTo>
                  <a:lnTo>
                    <a:pt x="1192" y="896"/>
                  </a:lnTo>
                  <a:lnTo>
                    <a:pt x="1173" y="924"/>
                  </a:lnTo>
                  <a:lnTo>
                    <a:pt x="1164" y="951"/>
                  </a:lnTo>
                  <a:lnTo>
                    <a:pt x="1161" y="977"/>
                  </a:lnTo>
                  <a:lnTo>
                    <a:pt x="1173" y="1002"/>
                  </a:lnTo>
                  <a:lnTo>
                    <a:pt x="1182" y="1030"/>
                  </a:lnTo>
                  <a:lnTo>
                    <a:pt x="1207" y="1025"/>
                  </a:lnTo>
                  <a:lnTo>
                    <a:pt x="1236" y="1000"/>
                  </a:lnTo>
                  <a:lnTo>
                    <a:pt x="1249" y="974"/>
                  </a:lnTo>
                  <a:lnTo>
                    <a:pt x="1269" y="949"/>
                  </a:lnTo>
                  <a:lnTo>
                    <a:pt x="1293" y="974"/>
                  </a:lnTo>
                  <a:lnTo>
                    <a:pt x="1295" y="1002"/>
                  </a:lnTo>
                  <a:lnTo>
                    <a:pt x="1269" y="1028"/>
                  </a:lnTo>
                  <a:lnTo>
                    <a:pt x="1295" y="1046"/>
                  </a:lnTo>
                  <a:lnTo>
                    <a:pt x="1316" y="1051"/>
                  </a:lnTo>
                  <a:close/>
                  <a:moveTo>
                    <a:pt x="1417" y="997"/>
                  </a:moveTo>
                  <a:lnTo>
                    <a:pt x="1427" y="1025"/>
                  </a:lnTo>
                  <a:lnTo>
                    <a:pt x="1448" y="1051"/>
                  </a:lnTo>
                  <a:lnTo>
                    <a:pt x="1440" y="1080"/>
                  </a:lnTo>
                  <a:lnTo>
                    <a:pt x="1414" y="1078"/>
                  </a:lnTo>
                  <a:lnTo>
                    <a:pt x="1399" y="1051"/>
                  </a:lnTo>
                  <a:lnTo>
                    <a:pt x="1399" y="1023"/>
                  </a:lnTo>
                  <a:lnTo>
                    <a:pt x="1417" y="997"/>
                  </a:lnTo>
                  <a:close/>
                  <a:moveTo>
                    <a:pt x="126" y="1271"/>
                  </a:moveTo>
                  <a:lnTo>
                    <a:pt x="127" y="1274"/>
                  </a:lnTo>
                  <a:lnTo>
                    <a:pt x="127" y="1276"/>
                  </a:lnTo>
                  <a:lnTo>
                    <a:pt x="126" y="1271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8" name="Freeform 16"/>
            <p:cNvSpPr>
              <a:spLocks/>
            </p:cNvSpPr>
            <p:nvPr/>
          </p:nvSpPr>
          <p:spPr bwMode="auto">
            <a:xfrm>
              <a:off x="5352186" y="2248510"/>
              <a:ext cx="499182" cy="156987"/>
            </a:xfrm>
            <a:custGeom>
              <a:avLst/>
              <a:gdLst>
                <a:gd name="T0" fmla="*/ 2147483647 w 849"/>
                <a:gd name="T1" fmla="*/ 2147483647 h 265"/>
                <a:gd name="T2" fmla="*/ 2147483647 w 849"/>
                <a:gd name="T3" fmla="*/ 2147483647 h 265"/>
                <a:gd name="T4" fmla="*/ 2147483647 w 849"/>
                <a:gd name="T5" fmla="*/ 2147483647 h 265"/>
                <a:gd name="T6" fmla="*/ 2147483647 w 849"/>
                <a:gd name="T7" fmla="*/ 2147483647 h 265"/>
                <a:gd name="T8" fmla="*/ 2147483647 w 849"/>
                <a:gd name="T9" fmla="*/ 2147483647 h 265"/>
                <a:gd name="T10" fmla="*/ 2147483647 w 849"/>
                <a:gd name="T11" fmla="*/ 2147483647 h 265"/>
                <a:gd name="T12" fmla="*/ 2147483647 w 849"/>
                <a:gd name="T13" fmla="*/ 2147483647 h 265"/>
                <a:gd name="T14" fmla="*/ 2147483647 w 849"/>
                <a:gd name="T15" fmla="*/ 2147483647 h 265"/>
                <a:gd name="T16" fmla="*/ 2147483647 w 849"/>
                <a:gd name="T17" fmla="*/ 2147483647 h 265"/>
                <a:gd name="T18" fmla="*/ 2147483647 w 849"/>
                <a:gd name="T19" fmla="*/ 2147483647 h 265"/>
                <a:gd name="T20" fmla="*/ 2147483647 w 849"/>
                <a:gd name="T21" fmla="*/ 2147483647 h 265"/>
                <a:gd name="T22" fmla="*/ 2147483647 w 849"/>
                <a:gd name="T23" fmla="*/ 2147483647 h 265"/>
                <a:gd name="T24" fmla="*/ 2147483647 w 849"/>
                <a:gd name="T25" fmla="*/ 2147483647 h 265"/>
                <a:gd name="T26" fmla="*/ 2147483647 w 849"/>
                <a:gd name="T27" fmla="*/ 2147483647 h 265"/>
                <a:gd name="T28" fmla="*/ 2147483647 w 849"/>
                <a:gd name="T29" fmla="*/ 2147483647 h 265"/>
                <a:gd name="T30" fmla="*/ 2147483647 w 849"/>
                <a:gd name="T31" fmla="*/ 2147483647 h 265"/>
                <a:gd name="T32" fmla="*/ 2147483647 w 849"/>
                <a:gd name="T33" fmla="*/ 2147483647 h 265"/>
                <a:gd name="T34" fmla="*/ 2147483647 w 849"/>
                <a:gd name="T35" fmla="*/ 2147483647 h 265"/>
                <a:gd name="T36" fmla="*/ 2147483647 w 849"/>
                <a:gd name="T37" fmla="*/ 2147483647 h 265"/>
                <a:gd name="T38" fmla="*/ 2147483647 w 849"/>
                <a:gd name="T39" fmla="*/ 2147483647 h 265"/>
                <a:gd name="T40" fmla="*/ 2147483647 w 849"/>
                <a:gd name="T41" fmla="*/ 2147483647 h 265"/>
                <a:gd name="T42" fmla="*/ 2147483647 w 849"/>
                <a:gd name="T43" fmla="*/ 2147483647 h 265"/>
                <a:gd name="T44" fmla="*/ 2147483647 w 849"/>
                <a:gd name="T45" fmla="*/ 2147483647 h 265"/>
                <a:gd name="T46" fmla="*/ 2147483647 w 849"/>
                <a:gd name="T47" fmla="*/ 2147483647 h 265"/>
                <a:gd name="T48" fmla="*/ 2147483647 w 849"/>
                <a:gd name="T49" fmla="*/ 2147483647 h 265"/>
                <a:gd name="T50" fmla="*/ 2147483647 w 849"/>
                <a:gd name="T51" fmla="*/ 2147483647 h 265"/>
                <a:gd name="T52" fmla="*/ 2147483647 w 849"/>
                <a:gd name="T53" fmla="*/ 2147483647 h 265"/>
                <a:gd name="T54" fmla="*/ 2147483647 w 849"/>
                <a:gd name="T55" fmla="*/ 2147483647 h 265"/>
                <a:gd name="T56" fmla="*/ 2147483647 w 849"/>
                <a:gd name="T57" fmla="*/ 2147483647 h 265"/>
                <a:gd name="T58" fmla="*/ 2147483647 w 849"/>
                <a:gd name="T59" fmla="*/ 2147483647 h 265"/>
                <a:gd name="T60" fmla="*/ 2147483647 w 849"/>
                <a:gd name="T61" fmla="*/ 2147483647 h 265"/>
                <a:gd name="T62" fmla="*/ 2147483647 w 849"/>
                <a:gd name="T63" fmla="*/ 2147483647 h 265"/>
                <a:gd name="T64" fmla="*/ 2147483647 w 849"/>
                <a:gd name="T65" fmla="*/ 2147483647 h 265"/>
                <a:gd name="T66" fmla="*/ 2147483647 w 849"/>
                <a:gd name="T67" fmla="*/ 2147483647 h 265"/>
                <a:gd name="T68" fmla="*/ 2147483647 w 849"/>
                <a:gd name="T69" fmla="*/ 2147483647 h 265"/>
                <a:gd name="T70" fmla="*/ 2147483647 w 849"/>
                <a:gd name="T71" fmla="*/ 2147483647 h 265"/>
                <a:gd name="T72" fmla="*/ 2147483647 w 849"/>
                <a:gd name="T73" fmla="*/ 2147483647 h 265"/>
                <a:gd name="T74" fmla="*/ 2147483647 w 849"/>
                <a:gd name="T75" fmla="*/ 2147483647 h 265"/>
                <a:gd name="T76" fmla="*/ 2147483647 w 849"/>
                <a:gd name="T77" fmla="*/ 0 h 265"/>
                <a:gd name="T78" fmla="*/ 2147483647 w 849"/>
                <a:gd name="T79" fmla="*/ 2147483647 h 265"/>
                <a:gd name="T80" fmla="*/ 2147483647 w 849"/>
                <a:gd name="T81" fmla="*/ 2147483647 h 265"/>
                <a:gd name="T82" fmla="*/ 2147483647 w 849"/>
                <a:gd name="T83" fmla="*/ 2147483647 h 265"/>
                <a:gd name="T84" fmla="*/ 2147483647 w 849"/>
                <a:gd name="T85" fmla="*/ 2147483647 h 265"/>
                <a:gd name="T86" fmla="*/ 2147483647 w 849"/>
                <a:gd name="T87" fmla="*/ 2147483647 h 265"/>
                <a:gd name="T88" fmla="*/ 2147483647 w 849"/>
                <a:gd name="T89" fmla="*/ 2147483647 h 265"/>
                <a:gd name="T90" fmla="*/ 2147483647 w 849"/>
                <a:gd name="T91" fmla="*/ 2147483647 h 265"/>
                <a:gd name="T92" fmla="*/ 2147483647 w 849"/>
                <a:gd name="T93" fmla="*/ 2147483647 h 265"/>
                <a:gd name="T94" fmla="*/ 2147483647 w 849"/>
                <a:gd name="T95" fmla="*/ 2147483647 h 265"/>
                <a:gd name="T96" fmla="*/ 2147483647 w 849"/>
                <a:gd name="T97" fmla="*/ 2147483647 h 265"/>
                <a:gd name="T98" fmla="*/ 2147483647 w 849"/>
                <a:gd name="T99" fmla="*/ 2147483647 h 265"/>
                <a:gd name="T100" fmla="*/ 2147483647 w 849"/>
                <a:gd name="T101" fmla="*/ 2147483647 h 265"/>
                <a:gd name="T102" fmla="*/ 2147483647 w 849"/>
                <a:gd name="T103" fmla="*/ 2147483647 h 265"/>
                <a:gd name="T104" fmla="*/ 2147483647 w 849"/>
                <a:gd name="T105" fmla="*/ 2147483647 h 265"/>
                <a:gd name="T106" fmla="*/ 2147483647 w 849"/>
                <a:gd name="T107" fmla="*/ 2147483647 h 265"/>
                <a:gd name="T108" fmla="*/ 2147483647 w 849"/>
                <a:gd name="T109" fmla="*/ 2147483647 h 265"/>
                <a:gd name="T110" fmla="*/ 2147483647 w 849"/>
                <a:gd name="T111" fmla="*/ 2147483647 h 265"/>
                <a:gd name="T112" fmla="*/ 2147483647 w 849"/>
                <a:gd name="T113" fmla="*/ 2147483647 h 265"/>
                <a:gd name="T114" fmla="*/ 2147483647 w 849"/>
                <a:gd name="T115" fmla="*/ 2147483647 h 265"/>
                <a:gd name="T116" fmla="*/ 2147483647 w 849"/>
                <a:gd name="T117" fmla="*/ 2147483647 h 265"/>
                <a:gd name="T118" fmla="*/ 2147483647 w 849"/>
                <a:gd name="T119" fmla="*/ 2147483647 h 265"/>
                <a:gd name="T120" fmla="*/ 2147483647 w 849"/>
                <a:gd name="T121" fmla="*/ 2147483647 h 2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49" h="265">
                  <a:moveTo>
                    <a:pt x="76" y="202"/>
                  </a:moveTo>
                  <a:lnTo>
                    <a:pt x="90" y="200"/>
                  </a:lnTo>
                  <a:lnTo>
                    <a:pt x="104" y="205"/>
                  </a:lnTo>
                  <a:lnTo>
                    <a:pt x="130" y="197"/>
                  </a:lnTo>
                  <a:lnTo>
                    <a:pt x="159" y="200"/>
                  </a:lnTo>
                  <a:lnTo>
                    <a:pt x="187" y="182"/>
                  </a:lnTo>
                  <a:lnTo>
                    <a:pt x="213" y="184"/>
                  </a:lnTo>
                  <a:lnTo>
                    <a:pt x="242" y="187"/>
                  </a:lnTo>
                  <a:lnTo>
                    <a:pt x="260" y="212"/>
                  </a:lnTo>
                  <a:lnTo>
                    <a:pt x="286" y="218"/>
                  </a:lnTo>
                  <a:lnTo>
                    <a:pt x="314" y="212"/>
                  </a:lnTo>
                  <a:lnTo>
                    <a:pt x="340" y="207"/>
                  </a:lnTo>
                  <a:lnTo>
                    <a:pt x="369" y="200"/>
                  </a:lnTo>
                  <a:lnTo>
                    <a:pt x="394" y="202"/>
                  </a:lnTo>
                  <a:lnTo>
                    <a:pt x="422" y="200"/>
                  </a:lnTo>
                  <a:lnTo>
                    <a:pt x="449" y="195"/>
                  </a:lnTo>
                  <a:lnTo>
                    <a:pt x="475" y="191"/>
                  </a:lnTo>
                  <a:lnTo>
                    <a:pt x="503" y="191"/>
                  </a:lnTo>
                  <a:lnTo>
                    <a:pt x="528" y="195"/>
                  </a:lnTo>
                  <a:lnTo>
                    <a:pt x="555" y="200"/>
                  </a:lnTo>
                  <a:lnTo>
                    <a:pt x="583" y="197"/>
                  </a:lnTo>
                  <a:lnTo>
                    <a:pt x="609" y="197"/>
                  </a:lnTo>
                  <a:lnTo>
                    <a:pt x="634" y="195"/>
                  </a:lnTo>
                  <a:lnTo>
                    <a:pt x="661" y="197"/>
                  </a:lnTo>
                  <a:lnTo>
                    <a:pt x="689" y="197"/>
                  </a:lnTo>
                  <a:lnTo>
                    <a:pt x="715" y="187"/>
                  </a:lnTo>
                  <a:lnTo>
                    <a:pt x="740" y="212"/>
                  </a:lnTo>
                  <a:lnTo>
                    <a:pt x="764" y="239"/>
                  </a:lnTo>
                  <a:lnTo>
                    <a:pt x="790" y="260"/>
                  </a:lnTo>
                  <a:lnTo>
                    <a:pt x="816" y="265"/>
                  </a:lnTo>
                  <a:lnTo>
                    <a:pt x="840" y="262"/>
                  </a:lnTo>
                  <a:lnTo>
                    <a:pt x="840" y="261"/>
                  </a:lnTo>
                  <a:lnTo>
                    <a:pt x="841" y="259"/>
                  </a:lnTo>
                  <a:lnTo>
                    <a:pt x="845" y="250"/>
                  </a:lnTo>
                  <a:lnTo>
                    <a:pt x="847" y="243"/>
                  </a:lnTo>
                  <a:lnTo>
                    <a:pt x="848" y="232"/>
                  </a:lnTo>
                  <a:lnTo>
                    <a:pt x="849" y="218"/>
                  </a:lnTo>
                  <a:lnTo>
                    <a:pt x="849" y="200"/>
                  </a:lnTo>
                  <a:lnTo>
                    <a:pt x="848" y="190"/>
                  </a:lnTo>
                  <a:lnTo>
                    <a:pt x="847" y="182"/>
                  </a:lnTo>
                  <a:lnTo>
                    <a:pt x="845" y="176"/>
                  </a:lnTo>
                  <a:lnTo>
                    <a:pt x="844" y="169"/>
                  </a:lnTo>
                  <a:lnTo>
                    <a:pt x="841" y="164"/>
                  </a:lnTo>
                  <a:lnTo>
                    <a:pt x="839" y="160"/>
                  </a:lnTo>
                  <a:lnTo>
                    <a:pt x="835" y="157"/>
                  </a:lnTo>
                  <a:lnTo>
                    <a:pt x="831" y="153"/>
                  </a:lnTo>
                  <a:lnTo>
                    <a:pt x="820" y="147"/>
                  </a:lnTo>
                  <a:lnTo>
                    <a:pt x="807" y="143"/>
                  </a:lnTo>
                  <a:lnTo>
                    <a:pt x="791" y="137"/>
                  </a:lnTo>
                  <a:lnTo>
                    <a:pt x="770" y="131"/>
                  </a:lnTo>
                  <a:lnTo>
                    <a:pt x="759" y="125"/>
                  </a:lnTo>
                  <a:lnTo>
                    <a:pt x="751" y="120"/>
                  </a:lnTo>
                  <a:lnTo>
                    <a:pt x="745" y="114"/>
                  </a:lnTo>
                  <a:lnTo>
                    <a:pt x="739" y="107"/>
                  </a:lnTo>
                  <a:lnTo>
                    <a:pt x="735" y="101"/>
                  </a:lnTo>
                  <a:lnTo>
                    <a:pt x="732" y="94"/>
                  </a:lnTo>
                  <a:lnTo>
                    <a:pt x="731" y="87"/>
                  </a:lnTo>
                  <a:lnTo>
                    <a:pt x="730" y="80"/>
                  </a:lnTo>
                  <a:lnTo>
                    <a:pt x="730" y="68"/>
                  </a:lnTo>
                  <a:lnTo>
                    <a:pt x="732" y="57"/>
                  </a:lnTo>
                  <a:lnTo>
                    <a:pt x="734" y="50"/>
                  </a:lnTo>
                  <a:lnTo>
                    <a:pt x="735" y="48"/>
                  </a:lnTo>
                  <a:lnTo>
                    <a:pt x="733" y="42"/>
                  </a:lnTo>
                  <a:lnTo>
                    <a:pt x="754" y="44"/>
                  </a:lnTo>
                  <a:lnTo>
                    <a:pt x="728" y="41"/>
                  </a:lnTo>
                  <a:lnTo>
                    <a:pt x="701" y="32"/>
                  </a:lnTo>
                  <a:lnTo>
                    <a:pt x="673" y="44"/>
                  </a:lnTo>
                  <a:lnTo>
                    <a:pt x="648" y="73"/>
                  </a:lnTo>
                  <a:lnTo>
                    <a:pt x="620" y="68"/>
                  </a:lnTo>
                  <a:lnTo>
                    <a:pt x="593" y="52"/>
                  </a:lnTo>
                  <a:lnTo>
                    <a:pt x="567" y="32"/>
                  </a:lnTo>
                  <a:lnTo>
                    <a:pt x="542" y="29"/>
                  </a:lnTo>
                  <a:lnTo>
                    <a:pt x="516" y="21"/>
                  </a:lnTo>
                  <a:lnTo>
                    <a:pt x="487" y="11"/>
                  </a:lnTo>
                  <a:lnTo>
                    <a:pt x="461" y="8"/>
                  </a:lnTo>
                  <a:lnTo>
                    <a:pt x="436" y="11"/>
                  </a:lnTo>
                  <a:lnTo>
                    <a:pt x="407" y="6"/>
                  </a:lnTo>
                  <a:lnTo>
                    <a:pt x="384" y="0"/>
                  </a:lnTo>
                  <a:lnTo>
                    <a:pt x="381" y="1"/>
                  </a:lnTo>
                  <a:lnTo>
                    <a:pt x="379" y="3"/>
                  </a:lnTo>
                  <a:lnTo>
                    <a:pt x="381" y="6"/>
                  </a:lnTo>
                  <a:lnTo>
                    <a:pt x="386" y="10"/>
                  </a:lnTo>
                  <a:lnTo>
                    <a:pt x="390" y="17"/>
                  </a:lnTo>
                  <a:lnTo>
                    <a:pt x="393" y="24"/>
                  </a:lnTo>
                  <a:lnTo>
                    <a:pt x="394" y="29"/>
                  </a:lnTo>
                  <a:lnTo>
                    <a:pt x="393" y="33"/>
                  </a:lnTo>
                  <a:lnTo>
                    <a:pt x="391" y="37"/>
                  </a:lnTo>
                  <a:lnTo>
                    <a:pt x="388" y="40"/>
                  </a:lnTo>
                  <a:lnTo>
                    <a:pt x="381" y="44"/>
                  </a:lnTo>
                  <a:lnTo>
                    <a:pt x="374" y="47"/>
                  </a:lnTo>
                  <a:lnTo>
                    <a:pt x="363" y="49"/>
                  </a:lnTo>
                  <a:lnTo>
                    <a:pt x="351" y="51"/>
                  </a:lnTo>
                  <a:lnTo>
                    <a:pt x="316" y="53"/>
                  </a:lnTo>
                  <a:lnTo>
                    <a:pt x="273" y="54"/>
                  </a:lnTo>
                  <a:lnTo>
                    <a:pt x="225" y="55"/>
                  </a:lnTo>
                  <a:lnTo>
                    <a:pt x="176" y="55"/>
                  </a:lnTo>
                  <a:lnTo>
                    <a:pt x="130" y="55"/>
                  </a:lnTo>
                  <a:lnTo>
                    <a:pt x="94" y="54"/>
                  </a:lnTo>
                  <a:lnTo>
                    <a:pt x="69" y="54"/>
                  </a:lnTo>
                  <a:lnTo>
                    <a:pt x="59" y="54"/>
                  </a:lnTo>
                  <a:lnTo>
                    <a:pt x="55" y="54"/>
                  </a:lnTo>
                  <a:lnTo>
                    <a:pt x="44" y="55"/>
                  </a:lnTo>
                  <a:lnTo>
                    <a:pt x="38" y="57"/>
                  </a:lnTo>
                  <a:lnTo>
                    <a:pt x="32" y="58"/>
                  </a:lnTo>
                  <a:lnTo>
                    <a:pt x="24" y="61"/>
                  </a:lnTo>
                  <a:lnTo>
                    <a:pt x="18" y="63"/>
                  </a:lnTo>
                  <a:lnTo>
                    <a:pt x="12" y="68"/>
                  </a:lnTo>
                  <a:lnTo>
                    <a:pt x="7" y="73"/>
                  </a:lnTo>
                  <a:lnTo>
                    <a:pt x="3" y="78"/>
                  </a:lnTo>
                  <a:lnTo>
                    <a:pt x="1" y="84"/>
                  </a:lnTo>
                  <a:lnTo>
                    <a:pt x="0" y="89"/>
                  </a:lnTo>
                  <a:lnTo>
                    <a:pt x="1" y="93"/>
                  </a:lnTo>
                  <a:lnTo>
                    <a:pt x="2" y="97"/>
                  </a:lnTo>
                  <a:lnTo>
                    <a:pt x="3" y="101"/>
                  </a:lnTo>
                  <a:lnTo>
                    <a:pt x="9" y="112"/>
                  </a:lnTo>
                  <a:lnTo>
                    <a:pt x="17" y="124"/>
                  </a:lnTo>
                  <a:lnTo>
                    <a:pt x="49" y="163"/>
                  </a:lnTo>
                  <a:lnTo>
                    <a:pt x="65" y="184"/>
                  </a:lnTo>
                  <a:lnTo>
                    <a:pt x="71" y="193"/>
                  </a:lnTo>
                  <a:lnTo>
                    <a:pt x="72" y="194"/>
                  </a:lnTo>
                  <a:lnTo>
                    <a:pt x="74" y="198"/>
                  </a:lnTo>
                  <a:lnTo>
                    <a:pt x="76" y="202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49" name="Freeform 17"/>
            <p:cNvSpPr>
              <a:spLocks noEditPoints="1"/>
            </p:cNvSpPr>
            <p:nvPr/>
          </p:nvSpPr>
          <p:spPr bwMode="auto">
            <a:xfrm>
              <a:off x="5316908" y="3065193"/>
              <a:ext cx="663224" cy="640294"/>
            </a:xfrm>
            <a:custGeom>
              <a:avLst/>
              <a:gdLst>
                <a:gd name="T0" fmla="*/ 2147483647 w 1128"/>
                <a:gd name="T1" fmla="*/ 2147483647 h 1088"/>
                <a:gd name="T2" fmla="*/ 2147483647 w 1128"/>
                <a:gd name="T3" fmla="*/ 2147483647 h 1088"/>
                <a:gd name="T4" fmla="*/ 2147483647 w 1128"/>
                <a:gd name="T5" fmla="*/ 2147483647 h 1088"/>
                <a:gd name="T6" fmla="*/ 2147483647 w 1128"/>
                <a:gd name="T7" fmla="*/ 2147483647 h 1088"/>
                <a:gd name="T8" fmla="*/ 2147483647 w 1128"/>
                <a:gd name="T9" fmla="*/ 2147483647 h 1088"/>
                <a:gd name="T10" fmla="*/ 2147483647 w 1128"/>
                <a:gd name="T11" fmla="*/ 2147483647 h 1088"/>
                <a:gd name="T12" fmla="*/ 2147483647 w 1128"/>
                <a:gd name="T13" fmla="*/ 2147483647 h 1088"/>
                <a:gd name="T14" fmla="*/ 2147483647 w 1128"/>
                <a:gd name="T15" fmla="*/ 2147483647 h 1088"/>
                <a:gd name="T16" fmla="*/ 2147483647 w 1128"/>
                <a:gd name="T17" fmla="*/ 2147483647 h 1088"/>
                <a:gd name="T18" fmla="*/ 2147483647 w 1128"/>
                <a:gd name="T19" fmla="*/ 2147483647 h 1088"/>
                <a:gd name="T20" fmla="*/ 2147483647 w 1128"/>
                <a:gd name="T21" fmla="*/ 2147483647 h 1088"/>
                <a:gd name="T22" fmla="*/ 2147483647 w 1128"/>
                <a:gd name="T23" fmla="*/ 2147483647 h 1088"/>
                <a:gd name="T24" fmla="*/ 2147483647 w 1128"/>
                <a:gd name="T25" fmla="*/ 2147483647 h 1088"/>
                <a:gd name="T26" fmla="*/ 2147483647 w 1128"/>
                <a:gd name="T27" fmla="*/ 2147483647 h 1088"/>
                <a:gd name="T28" fmla="*/ 2147483647 w 1128"/>
                <a:gd name="T29" fmla="*/ 2147483647 h 1088"/>
                <a:gd name="T30" fmla="*/ 2147483647 w 1128"/>
                <a:gd name="T31" fmla="*/ 2147483647 h 1088"/>
                <a:gd name="T32" fmla="*/ 2147483647 w 1128"/>
                <a:gd name="T33" fmla="*/ 2147483647 h 1088"/>
                <a:gd name="T34" fmla="*/ 2147483647 w 1128"/>
                <a:gd name="T35" fmla="*/ 2147483647 h 1088"/>
                <a:gd name="T36" fmla="*/ 2147483647 w 1128"/>
                <a:gd name="T37" fmla="*/ 2147483647 h 1088"/>
                <a:gd name="T38" fmla="*/ 2147483647 w 1128"/>
                <a:gd name="T39" fmla="*/ 2147483647 h 1088"/>
                <a:gd name="T40" fmla="*/ 2147483647 w 1128"/>
                <a:gd name="T41" fmla="*/ 2147483647 h 1088"/>
                <a:gd name="T42" fmla="*/ 2147483647 w 1128"/>
                <a:gd name="T43" fmla="*/ 2147483647 h 1088"/>
                <a:gd name="T44" fmla="*/ 2147483647 w 1128"/>
                <a:gd name="T45" fmla="*/ 2147483647 h 1088"/>
                <a:gd name="T46" fmla="*/ 2147483647 w 1128"/>
                <a:gd name="T47" fmla="*/ 2147483647 h 1088"/>
                <a:gd name="T48" fmla="*/ 2147483647 w 1128"/>
                <a:gd name="T49" fmla="*/ 2147483647 h 1088"/>
                <a:gd name="T50" fmla="*/ 2147483647 w 1128"/>
                <a:gd name="T51" fmla="*/ 2147483647 h 1088"/>
                <a:gd name="T52" fmla="*/ 2147483647 w 1128"/>
                <a:gd name="T53" fmla="*/ 2147483647 h 1088"/>
                <a:gd name="T54" fmla="*/ 2147483647 w 1128"/>
                <a:gd name="T55" fmla="*/ 2147483647 h 1088"/>
                <a:gd name="T56" fmla="*/ 2147483647 w 1128"/>
                <a:gd name="T57" fmla="*/ 2147483647 h 1088"/>
                <a:gd name="T58" fmla="*/ 2147483647 w 1128"/>
                <a:gd name="T59" fmla="*/ 2147483647 h 1088"/>
                <a:gd name="T60" fmla="*/ 2147483647 w 1128"/>
                <a:gd name="T61" fmla="*/ 2147483647 h 1088"/>
                <a:gd name="T62" fmla="*/ 2147483647 w 1128"/>
                <a:gd name="T63" fmla="*/ 2147483647 h 1088"/>
                <a:gd name="T64" fmla="*/ 2147483647 w 1128"/>
                <a:gd name="T65" fmla="*/ 2147483647 h 1088"/>
                <a:gd name="T66" fmla="*/ 2147483647 w 1128"/>
                <a:gd name="T67" fmla="*/ 2147483647 h 1088"/>
                <a:gd name="T68" fmla="*/ 2147483647 w 1128"/>
                <a:gd name="T69" fmla="*/ 2147483647 h 1088"/>
                <a:gd name="T70" fmla="*/ 2147483647 w 1128"/>
                <a:gd name="T71" fmla="*/ 2147483647 h 1088"/>
                <a:gd name="T72" fmla="*/ 2147483647 w 1128"/>
                <a:gd name="T73" fmla="*/ 2147483647 h 1088"/>
                <a:gd name="T74" fmla="*/ 2147483647 w 1128"/>
                <a:gd name="T75" fmla="*/ 2147483647 h 1088"/>
                <a:gd name="T76" fmla="*/ 2147483647 w 1128"/>
                <a:gd name="T77" fmla="*/ 2147483647 h 1088"/>
                <a:gd name="T78" fmla="*/ 2147483647 w 1128"/>
                <a:gd name="T79" fmla="*/ 2147483647 h 1088"/>
                <a:gd name="T80" fmla="*/ 2147483647 w 1128"/>
                <a:gd name="T81" fmla="*/ 2147483647 h 1088"/>
                <a:gd name="T82" fmla="*/ 2147483647 w 1128"/>
                <a:gd name="T83" fmla="*/ 2147483647 h 1088"/>
                <a:gd name="T84" fmla="*/ 2147483647 w 1128"/>
                <a:gd name="T85" fmla="*/ 2147483647 h 1088"/>
                <a:gd name="T86" fmla="*/ 2147483647 w 1128"/>
                <a:gd name="T87" fmla="*/ 2147483647 h 1088"/>
                <a:gd name="T88" fmla="*/ 2147483647 w 1128"/>
                <a:gd name="T89" fmla="*/ 2147483647 h 1088"/>
                <a:gd name="T90" fmla="*/ 2147483647 w 1128"/>
                <a:gd name="T91" fmla="*/ 2147483647 h 1088"/>
                <a:gd name="T92" fmla="*/ 2147483647 w 1128"/>
                <a:gd name="T93" fmla="*/ 2147483647 h 1088"/>
                <a:gd name="T94" fmla="*/ 2147483647 w 1128"/>
                <a:gd name="T95" fmla="*/ 2147483647 h 1088"/>
                <a:gd name="T96" fmla="*/ 2147483647 w 1128"/>
                <a:gd name="T97" fmla="*/ 2147483647 h 1088"/>
                <a:gd name="T98" fmla="*/ 2147483647 w 1128"/>
                <a:gd name="T99" fmla="*/ 2147483647 h 1088"/>
                <a:gd name="T100" fmla="*/ 2147483647 w 1128"/>
                <a:gd name="T101" fmla="*/ 2147483647 h 1088"/>
                <a:gd name="T102" fmla="*/ 2147483647 w 1128"/>
                <a:gd name="T103" fmla="*/ 2147483647 h 1088"/>
                <a:gd name="T104" fmla="*/ 2147483647 w 1128"/>
                <a:gd name="T105" fmla="*/ 2147483647 h 1088"/>
                <a:gd name="T106" fmla="*/ 2147483647 w 1128"/>
                <a:gd name="T107" fmla="*/ 2147483647 h 1088"/>
                <a:gd name="T108" fmla="*/ 2147483647 w 1128"/>
                <a:gd name="T109" fmla="*/ 2147483647 h 1088"/>
                <a:gd name="T110" fmla="*/ 2147483647 w 1128"/>
                <a:gd name="T111" fmla="*/ 2147483647 h 1088"/>
                <a:gd name="T112" fmla="*/ 2147483647 w 1128"/>
                <a:gd name="T113" fmla="*/ 2147483647 h 1088"/>
                <a:gd name="T114" fmla="*/ 2147483647 w 1128"/>
                <a:gd name="T115" fmla="*/ 2147483647 h 1088"/>
                <a:gd name="T116" fmla="*/ 2147483647 w 1128"/>
                <a:gd name="T117" fmla="*/ 2147483647 h 1088"/>
                <a:gd name="T118" fmla="*/ 2147483647 w 1128"/>
                <a:gd name="T119" fmla="*/ 2147483647 h 1088"/>
                <a:gd name="T120" fmla="*/ 2147483647 w 1128"/>
                <a:gd name="T121" fmla="*/ 2147483647 h 10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28" h="1088">
                  <a:moveTo>
                    <a:pt x="78" y="8"/>
                  </a:moveTo>
                  <a:lnTo>
                    <a:pt x="78" y="13"/>
                  </a:lnTo>
                  <a:lnTo>
                    <a:pt x="73" y="39"/>
                  </a:lnTo>
                  <a:lnTo>
                    <a:pt x="68" y="65"/>
                  </a:lnTo>
                  <a:lnTo>
                    <a:pt x="70" y="91"/>
                  </a:lnTo>
                  <a:lnTo>
                    <a:pt x="59" y="119"/>
                  </a:lnTo>
                  <a:lnTo>
                    <a:pt x="34" y="146"/>
                  </a:lnTo>
                  <a:lnTo>
                    <a:pt x="13" y="174"/>
                  </a:lnTo>
                  <a:lnTo>
                    <a:pt x="0" y="199"/>
                  </a:lnTo>
                  <a:lnTo>
                    <a:pt x="6" y="229"/>
                  </a:lnTo>
                  <a:lnTo>
                    <a:pt x="31" y="252"/>
                  </a:lnTo>
                  <a:lnTo>
                    <a:pt x="59" y="275"/>
                  </a:lnTo>
                  <a:lnTo>
                    <a:pt x="112" y="326"/>
                  </a:lnTo>
                  <a:lnTo>
                    <a:pt x="140" y="329"/>
                  </a:lnTo>
                  <a:lnTo>
                    <a:pt x="135" y="358"/>
                  </a:lnTo>
                  <a:lnTo>
                    <a:pt x="160" y="358"/>
                  </a:lnTo>
                  <a:lnTo>
                    <a:pt x="179" y="386"/>
                  </a:lnTo>
                  <a:lnTo>
                    <a:pt x="204" y="393"/>
                  </a:lnTo>
                  <a:lnTo>
                    <a:pt x="232" y="399"/>
                  </a:lnTo>
                  <a:lnTo>
                    <a:pt x="259" y="409"/>
                  </a:lnTo>
                  <a:lnTo>
                    <a:pt x="266" y="418"/>
                  </a:lnTo>
                  <a:lnTo>
                    <a:pt x="266" y="443"/>
                  </a:lnTo>
                  <a:lnTo>
                    <a:pt x="259" y="471"/>
                  </a:lnTo>
                  <a:lnTo>
                    <a:pt x="232" y="497"/>
                  </a:lnTo>
                  <a:lnTo>
                    <a:pt x="236" y="524"/>
                  </a:lnTo>
                  <a:lnTo>
                    <a:pt x="232" y="549"/>
                  </a:lnTo>
                  <a:lnTo>
                    <a:pt x="223" y="575"/>
                  </a:lnTo>
                  <a:lnTo>
                    <a:pt x="218" y="603"/>
                  </a:lnTo>
                  <a:lnTo>
                    <a:pt x="225" y="630"/>
                  </a:lnTo>
                  <a:lnTo>
                    <a:pt x="243" y="655"/>
                  </a:lnTo>
                  <a:lnTo>
                    <a:pt x="271" y="669"/>
                  </a:lnTo>
                  <a:lnTo>
                    <a:pt x="297" y="688"/>
                  </a:lnTo>
                  <a:lnTo>
                    <a:pt x="324" y="681"/>
                  </a:lnTo>
                  <a:lnTo>
                    <a:pt x="352" y="692"/>
                  </a:lnTo>
                  <a:lnTo>
                    <a:pt x="377" y="694"/>
                  </a:lnTo>
                  <a:lnTo>
                    <a:pt x="406" y="694"/>
                  </a:lnTo>
                  <a:lnTo>
                    <a:pt x="435" y="683"/>
                  </a:lnTo>
                  <a:lnTo>
                    <a:pt x="421" y="658"/>
                  </a:lnTo>
                  <a:lnTo>
                    <a:pt x="416" y="632"/>
                  </a:lnTo>
                  <a:lnTo>
                    <a:pt x="424" y="603"/>
                  </a:lnTo>
                  <a:lnTo>
                    <a:pt x="437" y="577"/>
                  </a:lnTo>
                  <a:lnTo>
                    <a:pt x="465" y="567"/>
                  </a:lnTo>
                  <a:lnTo>
                    <a:pt x="494" y="557"/>
                  </a:lnTo>
                  <a:lnTo>
                    <a:pt x="520" y="554"/>
                  </a:lnTo>
                  <a:lnTo>
                    <a:pt x="548" y="541"/>
                  </a:lnTo>
                  <a:lnTo>
                    <a:pt x="575" y="549"/>
                  </a:lnTo>
                  <a:lnTo>
                    <a:pt x="600" y="536"/>
                  </a:lnTo>
                  <a:lnTo>
                    <a:pt x="626" y="538"/>
                  </a:lnTo>
                  <a:lnTo>
                    <a:pt x="644" y="565"/>
                  </a:lnTo>
                  <a:lnTo>
                    <a:pt x="672" y="547"/>
                  </a:lnTo>
                  <a:lnTo>
                    <a:pt x="656" y="531"/>
                  </a:lnTo>
                  <a:lnTo>
                    <a:pt x="639" y="505"/>
                  </a:lnTo>
                  <a:lnTo>
                    <a:pt x="665" y="520"/>
                  </a:lnTo>
                  <a:lnTo>
                    <a:pt x="693" y="544"/>
                  </a:lnTo>
                  <a:lnTo>
                    <a:pt x="719" y="524"/>
                  </a:lnTo>
                  <a:lnTo>
                    <a:pt x="716" y="494"/>
                  </a:lnTo>
                  <a:lnTo>
                    <a:pt x="719" y="469"/>
                  </a:lnTo>
                  <a:lnTo>
                    <a:pt x="714" y="443"/>
                  </a:lnTo>
                  <a:lnTo>
                    <a:pt x="698" y="414"/>
                  </a:lnTo>
                  <a:lnTo>
                    <a:pt x="672" y="414"/>
                  </a:lnTo>
                  <a:lnTo>
                    <a:pt x="690" y="441"/>
                  </a:lnTo>
                  <a:lnTo>
                    <a:pt x="662" y="438"/>
                  </a:lnTo>
                  <a:lnTo>
                    <a:pt x="637" y="427"/>
                  </a:lnTo>
                  <a:lnTo>
                    <a:pt x="637" y="399"/>
                  </a:lnTo>
                  <a:lnTo>
                    <a:pt x="610" y="379"/>
                  </a:lnTo>
                  <a:lnTo>
                    <a:pt x="637" y="360"/>
                  </a:lnTo>
                  <a:lnTo>
                    <a:pt x="610" y="352"/>
                  </a:lnTo>
                  <a:lnTo>
                    <a:pt x="582" y="340"/>
                  </a:lnTo>
                  <a:lnTo>
                    <a:pt x="577" y="329"/>
                  </a:lnTo>
                  <a:lnTo>
                    <a:pt x="561" y="303"/>
                  </a:lnTo>
                  <a:lnTo>
                    <a:pt x="536" y="296"/>
                  </a:lnTo>
                  <a:lnTo>
                    <a:pt x="507" y="280"/>
                  </a:lnTo>
                  <a:lnTo>
                    <a:pt x="481" y="264"/>
                  </a:lnTo>
                  <a:lnTo>
                    <a:pt x="471" y="238"/>
                  </a:lnTo>
                  <a:lnTo>
                    <a:pt x="497" y="223"/>
                  </a:lnTo>
                  <a:lnTo>
                    <a:pt x="502" y="208"/>
                  </a:lnTo>
                  <a:lnTo>
                    <a:pt x="504" y="197"/>
                  </a:lnTo>
                  <a:lnTo>
                    <a:pt x="494" y="171"/>
                  </a:lnTo>
                  <a:lnTo>
                    <a:pt x="522" y="181"/>
                  </a:lnTo>
                  <a:lnTo>
                    <a:pt x="533" y="174"/>
                  </a:lnTo>
                  <a:lnTo>
                    <a:pt x="507" y="148"/>
                  </a:lnTo>
                  <a:lnTo>
                    <a:pt x="518" y="126"/>
                  </a:lnTo>
                  <a:lnTo>
                    <a:pt x="517" y="125"/>
                  </a:lnTo>
                  <a:lnTo>
                    <a:pt x="516" y="125"/>
                  </a:lnTo>
                  <a:lnTo>
                    <a:pt x="515" y="125"/>
                  </a:lnTo>
                  <a:lnTo>
                    <a:pt x="514" y="125"/>
                  </a:lnTo>
                  <a:lnTo>
                    <a:pt x="513" y="127"/>
                  </a:lnTo>
                  <a:lnTo>
                    <a:pt x="511" y="130"/>
                  </a:lnTo>
                  <a:lnTo>
                    <a:pt x="505" y="128"/>
                  </a:lnTo>
                  <a:lnTo>
                    <a:pt x="493" y="122"/>
                  </a:lnTo>
                  <a:lnTo>
                    <a:pt x="473" y="113"/>
                  </a:lnTo>
                  <a:lnTo>
                    <a:pt x="448" y="101"/>
                  </a:lnTo>
                  <a:lnTo>
                    <a:pt x="418" y="88"/>
                  </a:lnTo>
                  <a:lnTo>
                    <a:pt x="387" y="74"/>
                  </a:lnTo>
                  <a:lnTo>
                    <a:pt x="354" y="59"/>
                  </a:lnTo>
                  <a:lnTo>
                    <a:pt x="323" y="45"/>
                  </a:lnTo>
                  <a:lnTo>
                    <a:pt x="308" y="38"/>
                  </a:lnTo>
                  <a:lnTo>
                    <a:pt x="295" y="33"/>
                  </a:lnTo>
                  <a:lnTo>
                    <a:pt x="285" y="30"/>
                  </a:lnTo>
                  <a:lnTo>
                    <a:pt x="274" y="28"/>
                  </a:lnTo>
                  <a:lnTo>
                    <a:pt x="266" y="27"/>
                  </a:lnTo>
                  <a:lnTo>
                    <a:pt x="258" y="27"/>
                  </a:lnTo>
                  <a:lnTo>
                    <a:pt x="250" y="27"/>
                  </a:lnTo>
                  <a:lnTo>
                    <a:pt x="243" y="28"/>
                  </a:lnTo>
                  <a:lnTo>
                    <a:pt x="229" y="29"/>
                  </a:lnTo>
                  <a:lnTo>
                    <a:pt x="212" y="30"/>
                  </a:lnTo>
                  <a:lnTo>
                    <a:pt x="202" y="29"/>
                  </a:lnTo>
                  <a:lnTo>
                    <a:pt x="191" y="27"/>
                  </a:lnTo>
                  <a:lnTo>
                    <a:pt x="179" y="24"/>
                  </a:lnTo>
                  <a:lnTo>
                    <a:pt x="164" y="18"/>
                  </a:lnTo>
                  <a:lnTo>
                    <a:pt x="137" y="10"/>
                  </a:lnTo>
                  <a:lnTo>
                    <a:pt x="116" y="4"/>
                  </a:lnTo>
                  <a:lnTo>
                    <a:pt x="101" y="1"/>
                  </a:lnTo>
                  <a:lnTo>
                    <a:pt x="92" y="0"/>
                  </a:lnTo>
                  <a:lnTo>
                    <a:pt x="85" y="0"/>
                  </a:lnTo>
                  <a:lnTo>
                    <a:pt x="82" y="1"/>
                  </a:lnTo>
                  <a:lnTo>
                    <a:pt x="81" y="2"/>
                  </a:lnTo>
                  <a:lnTo>
                    <a:pt x="81" y="3"/>
                  </a:lnTo>
                  <a:lnTo>
                    <a:pt x="76" y="4"/>
                  </a:lnTo>
                  <a:lnTo>
                    <a:pt x="78" y="8"/>
                  </a:lnTo>
                  <a:close/>
                  <a:moveTo>
                    <a:pt x="550" y="184"/>
                  </a:moveTo>
                  <a:lnTo>
                    <a:pt x="559" y="210"/>
                  </a:lnTo>
                  <a:lnTo>
                    <a:pt x="543" y="184"/>
                  </a:lnTo>
                  <a:lnTo>
                    <a:pt x="550" y="184"/>
                  </a:lnTo>
                  <a:close/>
                  <a:moveTo>
                    <a:pt x="796" y="233"/>
                  </a:moveTo>
                  <a:lnTo>
                    <a:pt x="799" y="259"/>
                  </a:lnTo>
                  <a:lnTo>
                    <a:pt x="794" y="233"/>
                  </a:lnTo>
                  <a:lnTo>
                    <a:pt x="796" y="233"/>
                  </a:lnTo>
                  <a:close/>
                  <a:moveTo>
                    <a:pt x="771" y="383"/>
                  </a:moveTo>
                  <a:lnTo>
                    <a:pt x="796" y="397"/>
                  </a:lnTo>
                  <a:lnTo>
                    <a:pt x="825" y="388"/>
                  </a:lnTo>
                  <a:lnTo>
                    <a:pt x="843" y="417"/>
                  </a:lnTo>
                  <a:lnTo>
                    <a:pt x="831" y="443"/>
                  </a:lnTo>
                  <a:lnTo>
                    <a:pt x="815" y="469"/>
                  </a:lnTo>
                  <a:lnTo>
                    <a:pt x="787" y="476"/>
                  </a:lnTo>
                  <a:lnTo>
                    <a:pt x="760" y="459"/>
                  </a:lnTo>
                  <a:lnTo>
                    <a:pt x="739" y="430"/>
                  </a:lnTo>
                  <a:lnTo>
                    <a:pt x="739" y="404"/>
                  </a:lnTo>
                  <a:lnTo>
                    <a:pt x="768" y="383"/>
                  </a:lnTo>
                  <a:lnTo>
                    <a:pt x="771" y="383"/>
                  </a:lnTo>
                  <a:close/>
                  <a:moveTo>
                    <a:pt x="944" y="837"/>
                  </a:moveTo>
                  <a:lnTo>
                    <a:pt x="970" y="842"/>
                  </a:lnTo>
                  <a:lnTo>
                    <a:pt x="978" y="870"/>
                  </a:lnTo>
                  <a:lnTo>
                    <a:pt x="949" y="875"/>
                  </a:lnTo>
                  <a:lnTo>
                    <a:pt x="939" y="847"/>
                  </a:lnTo>
                  <a:lnTo>
                    <a:pt x="944" y="837"/>
                  </a:lnTo>
                  <a:close/>
                  <a:moveTo>
                    <a:pt x="393" y="775"/>
                  </a:moveTo>
                  <a:lnTo>
                    <a:pt x="401" y="800"/>
                  </a:lnTo>
                  <a:lnTo>
                    <a:pt x="424" y="826"/>
                  </a:lnTo>
                  <a:lnTo>
                    <a:pt x="419" y="854"/>
                  </a:lnTo>
                  <a:lnTo>
                    <a:pt x="419" y="881"/>
                  </a:lnTo>
                  <a:lnTo>
                    <a:pt x="416" y="906"/>
                  </a:lnTo>
                  <a:lnTo>
                    <a:pt x="391" y="916"/>
                  </a:lnTo>
                  <a:lnTo>
                    <a:pt x="363" y="891"/>
                  </a:lnTo>
                  <a:lnTo>
                    <a:pt x="347" y="865"/>
                  </a:lnTo>
                  <a:lnTo>
                    <a:pt x="333" y="837"/>
                  </a:lnTo>
                  <a:lnTo>
                    <a:pt x="342" y="810"/>
                  </a:lnTo>
                  <a:lnTo>
                    <a:pt x="349" y="782"/>
                  </a:lnTo>
                  <a:lnTo>
                    <a:pt x="377" y="782"/>
                  </a:lnTo>
                  <a:lnTo>
                    <a:pt x="393" y="775"/>
                  </a:lnTo>
                  <a:close/>
                  <a:moveTo>
                    <a:pt x="1004" y="914"/>
                  </a:moveTo>
                  <a:lnTo>
                    <a:pt x="1032" y="930"/>
                  </a:lnTo>
                  <a:lnTo>
                    <a:pt x="1040" y="958"/>
                  </a:lnTo>
                  <a:lnTo>
                    <a:pt x="1013" y="932"/>
                  </a:lnTo>
                  <a:lnTo>
                    <a:pt x="1004" y="914"/>
                  </a:lnTo>
                  <a:close/>
                  <a:moveTo>
                    <a:pt x="1105" y="1061"/>
                  </a:moveTo>
                  <a:lnTo>
                    <a:pt x="1128" y="1088"/>
                  </a:lnTo>
                  <a:lnTo>
                    <a:pt x="1102" y="1088"/>
                  </a:lnTo>
                  <a:lnTo>
                    <a:pt x="1096" y="1059"/>
                  </a:lnTo>
                  <a:lnTo>
                    <a:pt x="1105" y="1061"/>
                  </a:lnTo>
                  <a:close/>
                  <a:moveTo>
                    <a:pt x="652" y="611"/>
                  </a:moveTo>
                  <a:lnTo>
                    <a:pt x="660" y="632"/>
                  </a:lnTo>
                  <a:lnTo>
                    <a:pt x="665" y="658"/>
                  </a:lnTo>
                  <a:lnTo>
                    <a:pt x="665" y="686"/>
                  </a:lnTo>
                  <a:lnTo>
                    <a:pt x="675" y="713"/>
                  </a:lnTo>
                  <a:lnTo>
                    <a:pt x="656" y="741"/>
                  </a:lnTo>
                  <a:lnTo>
                    <a:pt x="631" y="769"/>
                  </a:lnTo>
                  <a:lnTo>
                    <a:pt x="619" y="795"/>
                  </a:lnTo>
                  <a:lnTo>
                    <a:pt x="623" y="821"/>
                  </a:lnTo>
                  <a:lnTo>
                    <a:pt x="633" y="849"/>
                  </a:lnTo>
                  <a:lnTo>
                    <a:pt x="616" y="875"/>
                  </a:lnTo>
                  <a:lnTo>
                    <a:pt x="595" y="901"/>
                  </a:lnTo>
                  <a:lnTo>
                    <a:pt x="592" y="899"/>
                  </a:lnTo>
                  <a:lnTo>
                    <a:pt x="577" y="872"/>
                  </a:lnTo>
                  <a:lnTo>
                    <a:pt x="548" y="886"/>
                  </a:lnTo>
                  <a:lnTo>
                    <a:pt x="543" y="858"/>
                  </a:lnTo>
                  <a:lnTo>
                    <a:pt x="525" y="886"/>
                  </a:lnTo>
                  <a:lnTo>
                    <a:pt x="499" y="870"/>
                  </a:lnTo>
                  <a:lnTo>
                    <a:pt x="507" y="842"/>
                  </a:lnTo>
                  <a:lnTo>
                    <a:pt x="515" y="816"/>
                  </a:lnTo>
                  <a:lnTo>
                    <a:pt x="520" y="789"/>
                  </a:lnTo>
                  <a:lnTo>
                    <a:pt x="541" y="761"/>
                  </a:lnTo>
                  <a:lnTo>
                    <a:pt x="536" y="736"/>
                  </a:lnTo>
                  <a:lnTo>
                    <a:pt x="525" y="709"/>
                  </a:lnTo>
                  <a:lnTo>
                    <a:pt x="522" y="681"/>
                  </a:lnTo>
                  <a:lnTo>
                    <a:pt x="543" y="655"/>
                  </a:lnTo>
                  <a:lnTo>
                    <a:pt x="571" y="653"/>
                  </a:lnTo>
                  <a:lnTo>
                    <a:pt x="598" y="639"/>
                  </a:lnTo>
                  <a:lnTo>
                    <a:pt x="623" y="619"/>
                  </a:lnTo>
                  <a:lnTo>
                    <a:pt x="652" y="611"/>
                  </a:lnTo>
                  <a:close/>
                  <a:moveTo>
                    <a:pt x="781" y="536"/>
                  </a:moveTo>
                  <a:lnTo>
                    <a:pt x="753" y="536"/>
                  </a:lnTo>
                  <a:lnTo>
                    <a:pt x="727" y="557"/>
                  </a:lnTo>
                  <a:lnTo>
                    <a:pt x="711" y="582"/>
                  </a:lnTo>
                  <a:lnTo>
                    <a:pt x="701" y="611"/>
                  </a:lnTo>
                  <a:lnTo>
                    <a:pt x="698" y="637"/>
                  </a:lnTo>
                  <a:lnTo>
                    <a:pt x="701" y="665"/>
                  </a:lnTo>
                  <a:lnTo>
                    <a:pt x="690" y="692"/>
                  </a:lnTo>
                  <a:lnTo>
                    <a:pt x="693" y="717"/>
                  </a:lnTo>
                  <a:lnTo>
                    <a:pt x="683" y="743"/>
                  </a:lnTo>
                  <a:lnTo>
                    <a:pt x="683" y="769"/>
                  </a:lnTo>
                  <a:lnTo>
                    <a:pt x="672" y="798"/>
                  </a:lnTo>
                  <a:lnTo>
                    <a:pt x="667" y="824"/>
                  </a:lnTo>
                  <a:lnTo>
                    <a:pt x="651" y="849"/>
                  </a:lnTo>
                  <a:lnTo>
                    <a:pt x="633" y="875"/>
                  </a:lnTo>
                  <a:lnTo>
                    <a:pt x="631" y="904"/>
                  </a:lnTo>
                  <a:lnTo>
                    <a:pt x="605" y="922"/>
                  </a:lnTo>
                  <a:lnTo>
                    <a:pt x="610" y="950"/>
                  </a:lnTo>
                  <a:lnTo>
                    <a:pt x="623" y="976"/>
                  </a:lnTo>
                  <a:lnTo>
                    <a:pt x="649" y="976"/>
                  </a:lnTo>
                  <a:lnTo>
                    <a:pt x="677" y="978"/>
                  </a:lnTo>
                  <a:lnTo>
                    <a:pt x="704" y="969"/>
                  </a:lnTo>
                  <a:lnTo>
                    <a:pt x="719" y="943"/>
                  </a:lnTo>
                  <a:lnTo>
                    <a:pt x="706" y="914"/>
                  </a:lnTo>
                  <a:lnTo>
                    <a:pt x="734" y="896"/>
                  </a:lnTo>
                  <a:lnTo>
                    <a:pt x="760" y="893"/>
                  </a:lnTo>
                  <a:lnTo>
                    <a:pt x="787" y="888"/>
                  </a:lnTo>
                  <a:lnTo>
                    <a:pt x="812" y="872"/>
                  </a:lnTo>
                  <a:lnTo>
                    <a:pt x="831" y="847"/>
                  </a:lnTo>
                  <a:lnTo>
                    <a:pt x="801" y="826"/>
                  </a:lnTo>
                  <a:lnTo>
                    <a:pt x="776" y="808"/>
                  </a:lnTo>
                  <a:lnTo>
                    <a:pt x="750" y="808"/>
                  </a:lnTo>
                  <a:lnTo>
                    <a:pt x="748" y="782"/>
                  </a:lnTo>
                  <a:lnTo>
                    <a:pt x="745" y="756"/>
                  </a:lnTo>
                  <a:lnTo>
                    <a:pt x="748" y="727"/>
                  </a:lnTo>
                  <a:lnTo>
                    <a:pt x="758" y="702"/>
                  </a:lnTo>
                  <a:lnTo>
                    <a:pt x="768" y="676"/>
                  </a:lnTo>
                  <a:lnTo>
                    <a:pt x="794" y="648"/>
                  </a:lnTo>
                  <a:lnTo>
                    <a:pt x="820" y="676"/>
                  </a:lnTo>
                  <a:lnTo>
                    <a:pt x="828" y="648"/>
                  </a:lnTo>
                  <a:lnTo>
                    <a:pt x="820" y="621"/>
                  </a:lnTo>
                  <a:lnTo>
                    <a:pt x="820" y="596"/>
                  </a:lnTo>
                  <a:lnTo>
                    <a:pt x="801" y="567"/>
                  </a:lnTo>
                  <a:lnTo>
                    <a:pt x="776" y="547"/>
                  </a:lnTo>
                  <a:lnTo>
                    <a:pt x="781" y="536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0" name="Freeform 18"/>
            <p:cNvSpPr>
              <a:spLocks/>
            </p:cNvSpPr>
            <p:nvPr/>
          </p:nvSpPr>
          <p:spPr bwMode="auto">
            <a:xfrm>
              <a:off x="4881226" y="2641859"/>
              <a:ext cx="243417" cy="560918"/>
            </a:xfrm>
            <a:custGeom>
              <a:avLst/>
              <a:gdLst>
                <a:gd name="T0" fmla="*/ 2147483647 w 413"/>
                <a:gd name="T1" fmla="*/ 2147483647 h 952"/>
                <a:gd name="T2" fmla="*/ 2147483647 w 413"/>
                <a:gd name="T3" fmla="*/ 2147483647 h 952"/>
                <a:gd name="T4" fmla="*/ 2147483647 w 413"/>
                <a:gd name="T5" fmla="*/ 2147483647 h 952"/>
                <a:gd name="T6" fmla="*/ 2147483647 w 413"/>
                <a:gd name="T7" fmla="*/ 2147483647 h 952"/>
                <a:gd name="T8" fmla="*/ 2147483647 w 413"/>
                <a:gd name="T9" fmla="*/ 2147483647 h 952"/>
                <a:gd name="T10" fmla="*/ 2147483647 w 413"/>
                <a:gd name="T11" fmla="*/ 2147483647 h 952"/>
                <a:gd name="T12" fmla="*/ 2147483647 w 413"/>
                <a:gd name="T13" fmla="*/ 2147483647 h 952"/>
                <a:gd name="T14" fmla="*/ 2147483647 w 413"/>
                <a:gd name="T15" fmla="*/ 2147483647 h 952"/>
                <a:gd name="T16" fmla="*/ 2147483647 w 413"/>
                <a:gd name="T17" fmla="*/ 2147483647 h 952"/>
                <a:gd name="T18" fmla="*/ 2147483647 w 413"/>
                <a:gd name="T19" fmla="*/ 2147483647 h 952"/>
                <a:gd name="T20" fmla="*/ 2147483647 w 413"/>
                <a:gd name="T21" fmla="*/ 2147483647 h 952"/>
                <a:gd name="T22" fmla="*/ 2147483647 w 413"/>
                <a:gd name="T23" fmla="*/ 2147483647 h 952"/>
                <a:gd name="T24" fmla="*/ 2147483647 w 413"/>
                <a:gd name="T25" fmla="*/ 2147483647 h 952"/>
                <a:gd name="T26" fmla="*/ 2147483647 w 413"/>
                <a:gd name="T27" fmla="*/ 2147483647 h 952"/>
                <a:gd name="T28" fmla="*/ 2147483647 w 413"/>
                <a:gd name="T29" fmla="*/ 2147483647 h 952"/>
                <a:gd name="T30" fmla="*/ 2147483647 w 413"/>
                <a:gd name="T31" fmla="*/ 2147483647 h 952"/>
                <a:gd name="T32" fmla="*/ 2147483647 w 413"/>
                <a:gd name="T33" fmla="*/ 2147483647 h 952"/>
                <a:gd name="T34" fmla="*/ 2147483647 w 413"/>
                <a:gd name="T35" fmla="*/ 2147483647 h 952"/>
                <a:gd name="T36" fmla="*/ 2147483647 w 413"/>
                <a:gd name="T37" fmla="*/ 2147483647 h 952"/>
                <a:gd name="T38" fmla="*/ 2147483647 w 413"/>
                <a:gd name="T39" fmla="*/ 2147483647 h 952"/>
                <a:gd name="T40" fmla="*/ 2147483647 w 413"/>
                <a:gd name="T41" fmla="*/ 2147483647 h 952"/>
                <a:gd name="T42" fmla="*/ 2147483647 w 413"/>
                <a:gd name="T43" fmla="*/ 2147483647 h 952"/>
                <a:gd name="T44" fmla="*/ 2147483647 w 413"/>
                <a:gd name="T45" fmla="*/ 2147483647 h 952"/>
                <a:gd name="T46" fmla="*/ 2147483647 w 413"/>
                <a:gd name="T47" fmla="*/ 2147483647 h 952"/>
                <a:gd name="T48" fmla="*/ 2147483647 w 413"/>
                <a:gd name="T49" fmla="*/ 2147483647 h 952"/>
                <a:gd name="T50" fmla="*/ 2147483647 w 413"/>
                <a:gd name="T51" fmla="*/ 2147483647 h 952"/>
                <a:gd name="T52" fmla="*/ 2147483647 w 413"/>
                <a:gd name="T53" fmla="*/ 2147483647 h 952"/>
                <a:gd name="T54" fmla="*/ 2147483647 w 413"/>
                <a:gd name="T55" fmla="*/ 2147483647 h 952"/>
                <a:gd name="T56" fmla="*/ 2147483647 w 413"/>
                <a:gd name="T57" fmla="*/ 2147483647 h 952"/>
                <a:gd name="T58" fmla="*/ 2147483647 w 413"/>
                <a:gd name="T59" fmla="*/ 2147483647 h 952"/>
                <a:gd name="T60" fmla="*/ 2147483647 w 413"/>
                <a:gd name="T61" fmla="*/ 2147483647 h 952"/>
                <a:gd name="T62" fmla="*/ 2147483647 w 413"/>
                <a:gd name="T63" fmla="*/ 2147483647 h 952"/>
                <a:gd name="T64" fmla="*/ 2147483647 w 413"/>
                <a:gd name="T65" fmla="*/ 2147483647 h 952"/>
                <a:gd name="T66" fmla="*/ 2147483647 w 413"/>
                <a:gd name="T67" fmla="*/ 2147483647 h 952"/>
                <a:gd name="T68" fmla="*/ 2147483647 w 413"/>
                <a:gd name="T69" fmla="*/ 2147483647 h 952"/>
                <a:gd name="T70" fmla="*/ 2147483647 w 413"/>
                <a:gd name="T71" fmla="*/ 2147483647 h 952"/>
                <a:gd name="T72" fmla="*/ 2147483647 w 413"/>
                <a:gd name="T73" fmla="*/ 2147483647 h 952"/>
                <a:gd name="T74" fmla="*/ 2147483647 w 413"/>
                <a:gd name="T75" fmla="*/ 2147483647 h 952"/>
                <a:gd name="T76" fmla="*/ 2147483647 w 413"/>
                <a:gd name="T77" fmla="*/ 2147483647 h 952"/>
                <a:gd name="T78" fmla="*/ 2147483647 w 413"/>
                <a:gd name="T79" fmla="*/ 2147483647 h 952"/>
                <a:gd name="T80" fmla="*/ 2147483647 w 413"/>
                <a:gd name="T81" fmla="*/ 2147483647 h 952"/>
                <a:gd name="T82" fmla="*/ 2147483647 w 413"/>
                <a:gd name="T83" fmla="*/ 2147483647 h 952"/>
                <a:gd name="T84" fmla="*/ 2147483647 w 413"/>
                <a:gd name="T85" fmla="*/ 2147483647 h 952"/>
                <a:gd name="T86" fmla="*/ 2147483647 w 413"/>
                <a:gd name="T87" fmla="*/ 2147483647 h 952"/>
                <a:gd name="T88" fmla="*/ 2147483647 w 413"/>
                <a:gd name="T89" fmla="*/ 2147483647 h 952"/>
                <a:gd name="T90" fmla="*/ 2147483647 w 413"/>
                <a:gd name="T91" fmla="*/ 2147483647 h 952"/>
                <a:gd name="T92" fmla="*/ 2147483647 w 413"/>
                <a:gd name="T93" fmla="*/ 2147483647 h 952"/>
                <a:gd name="T94" fmla="*/ 2147483647 w 413"/>
                <a:gd name="T95" fmla="*/ 2147483647 h 952"/>
                <a:gd name="T96" fmla="*/ 2147483647 w 413"/>
                <a:gd name="T97" fmla="*/ 2147483647 h 9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13" h="952">
                  <a:moveTo>
                    <a:pt x="273" y="0"/>
                  </a:moveTo>
                  <a:lnTo>
                    <a:pt x="262" y="25"/>
                  </a:lnTo>
                  <a:lnTo>
                    <a:pt x="248" y="51"/>
                  </a:lnTo>
                  <a:lnTo>
                    <a:pt x="244" y="79"/>
                  </a:lnTo>
                  <a:lnTo>
                    <a:pt x="218" y="105"/>
                  </a:lnTo>
                  <a:lnTo>
                    <a:pt x="197" y="134"/>
                  </a:lnTo>
                  <a:lnTo>
                    <a:pt x="197" y="160"/>
                  </a:lnTo>
                  <a:lnTo>
                    <a:pt x="189" y="185"/>
                  </a:lnTo>
                  <a:lnTo>
                    <a:pt x="189" y="215"/>
                  </a:lnTo>
                  <a:lnTo>
                    <a:pt x="195" y="240"/>
                  </a:lnTo>
                  <a:lnTo>
                    <a:pt x="197" y="266"/>
                  </a:lnTo>
                  <a:lnTo>
                    <a:pt x="189" y="292"/>
                  </a:lnTo>
                  <a:lnTo>
                    <a:pt x="197" y="317"/>
                  </a:lnTo>
                  <a:lnTo>
                    <a:pt x="212" y="346"/>
                  </a:lnTo>
                  <a:lnTo>
                    <a:pt x="210" y="372"/>
                  </a:lnTo>
                  <a:lnTo>
                    <a:pt x="184" y="390"/>
                  </a:lnTo>
                  <a:lnTo>
                    <a:pt x="156" y="413"/>
                  </a:lnTo>
                  <a:lnTo>
                    <a:pt x="151" y="439"/>
                  </a:lnTo>
                  <a:lnTo>
                    <a:pt x="138" y="466"/>
                  </a:lnTo>
                  <a:lnTo>
                    <a:pt x="130" y="494"/>
                  </a:lnTo>
                  <a:lnTo>
                    <a:pt x="127" y="520"/>
                  </a:lnTo>
                  <a:lnTo>
                    <a:pt x="135" y="545"/>
                  </a:lnTo>
                  <a:lnTo>
                    <a:pt x="124" y="572"/>
                  </a:lnTo>
                  <a:lnTo>
                    <a:pt x="99" y="587"/>
                  </a:lnTo>
                  <a:lnTo>
                    <a:pt x="85" y="613"/>
                  </a:lnTo>
                  <a:lnTo>
                    <a:pt x="57" y="628"/>
                  </a:lnTo>
                  <a:lnTo>
                    <a:pt x="32" y="634"/>
                  </a:lnTo>
                  <a:lnTo>
                    <a:pt x="6" y="646"/>
                  </a:lnTo>
                  <a:lnTo>
                    <a:pt x="0" y="674"/>
                  </a:lnTo>
                  <a:lnTo>
                    <a:pt x="16" y="704"/>
                  </a:lnTo>
                  <a:lnTo>
                    <a:pt x="41" y="729"/>
                  </a:lnTo>
                  <a:lnTo>
                    <a:pt x="29" y="755"/>
                  </a:lnTo>
                  <a:lnTo>
                    <a:pt x="8" y="782"/>
                  </a:lnTo>
                  <a:lnTo>
                    <a:pt x="6" y="807"/>
                  </a:lnTo>
                  <a:lnTo>
                    <a:pt x="24" y="833"/>
                  </a:lnTo>
                  <a:lnTo>
                    <a:pt x="29" y="859"/>
                  </a:lnTo>
                  <a:lnTo>
                    <a:pt x="29" y="888"/>
                  </a:lnTo>
                  <a:lnTo>
                    <a:pt x="39" y="913"/>
                  </a:lnTo>
                  <a:lnTo>
                    <a:pt x="50" y="939"/>
                  </a:lnTo>
                  <a:lnTo>
                    <a:pt x="78" y="952"/>
                  </a:lnTo>
                  <a:lnTo>
                    <a:pt x="104" y="936"/>
                  </a:lnTo>
                  <a:lnTo>
                    <a:pt x="130" y="929"/>
                  </a:lnTo>
                  <a:lnTo>
                    <a:pt x="158" y="932"/>
                  </a:lnTo>
                  <a:lnTo>
                    <a:pt x="184" y="916"/>
                  </a:lnTo>
                  <a:lnTo>
                    <a:pt x="206" y="914"/>
                  </a:lnTo>
                  <a:lnTo>
                    <a:pt x="209" y="910"/>
                  </a:lnTo>
                  <a:lnTo>
                    <a:pt x="214" y="907"/>
                  </a:lnTo>
                  <a:lnTo>
                    <a:pt x="266" y="855"/>
                  </a:lnTo>
                  <a:lnTo>
                    <a:pt x="266" y="848"/>
                  </a:lnTo>
                  <a:lnTo>
                    <a:pt x="265" y="829"/>
                  </a:lnTo>
                  <a:lnTo>
                    <a:pt x="264" y="802"/>
                  </a:lnTo>
                  <a:lnTo>
                    <a:pt x="263" y="770"/>
                  </a:lnTo>
                  <a:lnTo>
                    <a:pt x="263" y="740"/>
                  </a:lnTo>
                  <a:lnTo>
                    <a:pt x="265" y="713"/>
                  </a:lnTo>
                  <a:lnTo>
                    <a:pt x="266" y="703"/>
                  </a:lnTo>
                  <a:lnTo>
                    <a:pt x="267" y="695"/>
                  </a:lnTo>
                  <a:lnTo>
                    <a:pt x="268" y="693"/>
                  </a:lnTo>
                  <a:lnTo>
                    <a:pt x="269" y="691"/>
                  </a:lnTo>
                  <a:lnTo>
                    <a:pt x="271" y="690"/>
                  </a:lnTo>
                  <a:lnTo>
                    <a:pt x="272" y="690"/>
                  </a:lnTo>
                  <a:lnTo>
                    <a:pt x="283" y="692"/>
                  </a:lnTo>
                  <a:lnTo>
                    <a:pt x="300" y="692"/>
                  </a:lnTo>
                  <a:lnTo>
                    <a:pt x="322" y="692"/>
                  </a:lnTo>
                  <a:lnTo>
                    <a:pt x="345" y="691"/>
                  </a:lnTo>
                  <a:lnTo>
                    <a:pt x="387" y="688"/>
                  </a:lnTo>
                  <a:lnTo>
                    <a:pt x="406" y="687"/>
                  </a:lnTo>
                  <a:lnTo>
                    <a:pt x="408" y="671"/>
                  </a:lnTo>
                  <a:lnTo>
                    <a:pt x="412" y="634"/>
                  </a:lnTo>
                  <a:lnTo>
                    <a:pt x="413" y="608"/>
                  </a:lnTo>
                  <a:lnTo>
                    <a:pt x="411" y="582"/>
                  </a:lnTo>
                  <a:lnTo>
                    <a:pt x="410" y="569"/>
                  </a:lnTo>
                  <a:lnTo>
                    <a:pt x="407" y="557"/>
                  </a:lnTo>
                  <a:lnTo>
                    <a:pt x="404" y="543"/>
                  </a:lnTo>
                  <a:lnTo>
                    <a:pt x="399" y="532"/>
                  </a:lnTo>
                  <a:lnTo>
                    <a:pt x="391" y="506"/>
                  </a:lnTo>
                  <a:lnTo>
                    <a:pt x="385" y="482"/>
                  </a:lnTo>
                  <a:lnTo>
                    <a:pt x="379" y="457"/>
                  </a:lnTo>
                  <a:lnTo>
                    <a:pt x="375" y="435"/>
                  </a:lnTo>
                  <a:lnTo>
                    <a:pt x="372" y="399"/>
                  </a:lnTo>
                  <a:lnTo>
                    <a:pt x="371" y="386"/>
                  </a:lnTo>
                  <a:lnTo>
                    <a:pt x="370" y="381"/>
                  </a:lnTo>
                  <a:lnTo>
                    <a:pt x="368" y="370"/>
                  </a:lnTo>
                  <a:lnTo>
                    <a:pt x="365" y="352"/>
                  </a:lnTo>
                  <a:lnTo>
                    <a:pt x="360" y="329"/>
                  </a:lnTo>
                  <a:lnTo>
                    <a:pt x="354" y="304"/>
                  </a:lnTo>
                  <a:lnTo>
                    <a:pt x="347" y="276"/>
                  </a:lnTo>
                  <a:lnTo>
                    <a:pt x="337" y="249"/>
                  </a:lnTo>
                  <a:lnTo>
                    <a:pt x="326" y="223"/>
                  </a:lnTo>
                  <a:lnTo>
                    <a:pt x="321" y="210"/>
                  </a:lnTo>
                  <a:lnTo>
                    <a:pt x="315" y="195"/>
                  </a:lnTo>
                  <a:lnTo>
                    <a:pt x="310" y="179"/>
                  </a:lnTo>
                  <a:lnTo>
                    <a:pt x="306" y="161"/>
                  </a:lnTo>
                  <a:lnTo>
                    <a:pt x="298" y="125"/>
                  </a:lnTo>
                  <a:lnTo>
                    <a:pt x="291" y="88"/>
                  </a:lnTo>
                  <a:lnTo>
                    <a:pt x="287" y="56"/>
                  </a:lnTo>
                  <a:lnTo>
                    <a:pt x="283" y="30"/>
                  </a:lnTo>
                  <a:lnTo>
                    <a:pt x="281" y="11"/>
                  </a:lnTo>
                  <a:lnTo>
                    <a:pt x="281" y="4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1" name="Freeform 19"/>
            <p:cNvSpPr>
              <a:spLocks noEditPoints="1"/>
            </p:cNvSpPr>
            <p:nvPr/>
          </p:nvSpPr>
          <p:spPr bwMode="auto">
            <a:xfrm>
              <a:off x="5780813" y="1527078"/>
              <a:ext cx="786696" cy="878419"/>
            </a:xfrm>
            <a:custGeom>
              <a:avLst/>
              <a:gdLst>
                <a:gd name="T0" fmla="*/ 2147483647 w 1337"/>
                <a:gd name="T1" fmla="*/ 2147483647 h 1496"/>
                <a:gd name="T2" fmla="*/ 2147483647 w 1337"/>
                <a:gd name="T3" fmla="*/ 2147483647 h 1496"/>
                <a:gd name="T4" fmla="*/ 2147483647 w 1337"/>
                <a:gd name="T5" fmla="*/ 2147483647 h 1496"/>
                <a:gd name="T6" fmla="*/ 2147483647 w 1337"/>
                <a:gd name="T7" fmla="*/ 2147483647 h 1496"/>
                <a:gd name="T8" fmla="*/ 2147483647 w 1337"/>
                <a:gd name="T9" fmla="*/ 2147483647 h 1496"/>
                <a:gd name="T10" fmla="*/ 2147483647 w 1337"/>
                <a:gd name="T11" fmla="*/ 2147483647 h 1496"/>
                <a:gd name="T12" fmla="*/ 2147483647 w 1337"/>
                <a:gd name="T13" fmla="*/ 2147483647 h 1496"/>
                <a:gd name="T14" fmla="*/ 2147483647 w 1337"/>
                <a:gd name="T15" fmla="*/ 2147483647 h 1496"/>
                <a:gd name="T16" fmla="*/ 2147483647 w 1337"/>
                <a:gd name="T17" fmla="*/ 2147483647 h 1496"/>
                <a:gd name="T18" fmla="*/ 2147483647 w 1337"/>
                <a:gd name="T19" fmla="*/ 2147483647 h 1496"/>
                <a:gd name="T20" fmla="*/ 2147483647 w 1337"/>
                <a:gd name="T21" fmla="*/ 2147483647 h 1496"/>
                <a:gd name="T22" fmla="*/ 2147483647 w 1337"/>
                <a:gd name="T23" fmla="*/ 2147483647 h 1496"/>
                <a:gd name="T24" fmla="*/ 2147483647 w 1337"/>
                <a:gd name="T25" fmla="*/ 2147483647 h 1496"/>
                <a:gd name="T26" fmla="*/ 2147483647 w 1337"/>
                <a:gd name="T27" fmla="*/ 2147483647 h 1496"/>
                <a:gd name="T28" fmla="*/ 2147483647 w 1337"/>
                <a:gd name="T29" fmla="*/ 2147483647 h 1496"/>
                <a:gd name="T30" fmla="*/ 2147483647 w 1337"/>
                <a:gd name="T31" fmla="*/ 2147483647 h 1496"/>
                <a:gd name="T32" fmla="*/ 2147483647 w 1337"/>
                <a:gd name="T33" fmla="*/ 2147483647 h 1496"/>
                <a:gd name="T34" fmla="*/ 2147483647 w 1337"/>
                <a:gd name="T35" fmla="*/ 2147483647 h 1496"/>
                <a:gd name="T36" fmla="*/ 2147483647 w 1337"/>
                <a:gd name="T37" fmla="*/ 2147483647 h 1496"/>
                <a:gd name="T38" fmla="*/ 2147483647 w 1337"/>
                <a:gd name="T39" fmla="*/ 2147483647 h 1496"/>
                <a:gd name="T40" fmla="*/ 2147483647 w 1337"/>
                <a:gd name="T41" fmla="*/ 2147483647 h 1496"/>
                <a:gd name="T42" fmla="*/ 2147483647 w 1337"/>
                <a:gd name="T43" fmla="*/ 2147483647 h 1496"/>
                <a:gd name="T44" fmla="*/ 2147483647 w 1337"/>
                <a:gd name="T45" fmla="*/ 2147483647 h 1496"/>
                <a:gd name="T46" fmla="*/ 2147483647 w 1337"/>
                <a:gd name="T47" fmla="*/ 2147483647 h 1496"/>
                <a:gd name="T48" fmla="*/ 2147483647 w 1337"/>
                <a:gd name="T49" fmla="*/ 2147483647 h 1496"/>
                <a:gd name="T50" fmla="*/ 2147483647 w 1337"/>
                <a:gd name="T51" fmla="*/ 2147483647 h 1496"/>
                <a:gd name="T52" fmla="*/ 2147483647 w 1337"/>
                <a:gd name="T53" fmla="*/ 2147483647 h 1496"/>
                <a:gd name="T54" fmla="*/ 2147483647 w 1337"/>
                <a:gd name="T55" fmla="*/ 2147483647 h 1496"/>
                <a:gd name="T56" fmla="*/ 2147483647 w 1337"/>
                <a:gd name="T57" fmla="*/ 2147483647 h 1496"/>
                <a:gd name="T58" fmla="*/ 2147483647 w 1337"/>
                <a:gd name="T59" fmla="*/ 2147483647 h 1496"/>
                <a:gd name="T60" fmla="*/ 2147483647 w 1337"/>
                <a:gd name="T61" fmla="*/ 2147483647 h 1496"/>
                <a:gd name="T62" fmla="*/ 2147483647 w 1337"/>
                <a:gd name="T63" fmla="*/ 2147483647 h 1496"/>
                <a:gd name="T64" fmla="*/ 2147483647 w 1337"/>
                <a:gd name="T65" fmla="*/ 2147483647 h 1496"/>
                <a:gd name="T66" fmla="*/ 2147483647 w 1337"/>
                <a:gd name="T67" fmla="*/ 2147483647 h 1496"/>
                <a:gd name="T68" fmla="*/ 2147483647 w 1337"/>
                <a:gd name="T69" fmla="*/ 2147483647 h 1496"/>
                <a:gd name="T70" fmla="*/ 2147483647 w 1337"/>
                <a:gd name="T71" fmla="*/ 2147483647 h 1496"/>
                <a:gd name="T72" fmla="*/ 2147483647 w 1337"/>
                <a:gd name="T73" fmla="*/ 2147483647 h 1496"/>
                <a:gd name="T74" fmla="*/ 2147483647 w 1337"/>
                <a:gd name="T75" fmla="*/ 2147483647 h 1496"/>
                <a:gd name="T76" fmla="*/ 2147483647 w 1337"/>
                <a:gd name="T77" fmla="*/ 2147483647 h 1496"/>
                <a:gd name="T78" fmla="*/ 2147483647 w 1337"/>
                <a:gd name="T79" fmla="*/ 2147483647 h 1496"/>
                <a:gd name="T80" fmla="*/ 2147483647 w 1337"/>
                <a:gd name="T81" fmla="*/ 2147483647 h 1496"/>
                <a:gd name="T82" fmla="*/ 2147483647 w 1337"/>
                <a:gd name="T83" fmla="*/ 2147483647 h 1496"/>
                <a:gd name="T84" fmla="*/ 2147483647 w 1337"/>
                <a:gd name="T85" fmla="*/ 2147483647 h 1496"/>
                <a:gd name="T86" fmla="*/ 2147483647 w 1337"/>
                <a:gd name="T87" fmla="*/ 2147483647 h 1496"/>
                <a:gd name="T88" fmla="*/ 2147483647 w 1337"/>
                <a:gd name="T89" fmla="*/ 2147483647 h 1496"/>
                <a:gd name="T90" fmla="*/ 2147483647 w 1337"/>
                <a:gd name="T91" fmla="*/ 2147483647 h 1496"/>
                <a:gd name="T92" fmla="*/ 2147483647 w 1337"/>
                <a:gd name="T93" fmla="*/ 2147483647 h 1496"/>
                <a:gd name="T94" fmla="*/ 2147483647 w 1337"/>
                <a:gd name="T95" fmla="*/ 2147483647 h 1496"/>
                <a:gd name="T96" fmla="*/ 2147483647 w 1337"/>
                <a:gd name="T97" fmla="*/ 2147483647 h 1496"/>
                <a:gd name="T98" fmla="*/ 2147483647 w 1337"/>
                <a:gd name="T99" fmla="*/ 2147483647 h 1496"/>
                <a:gd name="T100" fmla="*/ 2147483647 w 1337"/>
                <a:gd name="T101" fmla="*/ 2147483647 h 1496"/>
                <a:gd name="T102" fmla="*/ 2147483647 w 1337"/>
                <a:gd name="T103" fmla="*/ 2147483647 h 149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337" h="1496">
                  <a:moveTo>
                    <a:pt x="1282" y="189"/>
                  </a:moveTo>
                  <a:lnTo>
                    <a:pt x="1257" y="187"/>
                  </a:lnTo>
                  <a:lnTo>
                    <a:pt x="1259" y="160"/>
                  </a:lnTo>
                  <a:lnTo>
                    <a:pt x="1282" y="132"/>
                  </a:lnTo>
                  <a:lnTo>
                    <a:pt x="1298" y="104"/>
                  </a:lnTo>
                  <a:lnTo>
                    <a:pt x="1270" y="88"/>
                  </a:lnTo>
                  <a:lnTo>
                    <a:pt x="1263" y="59"/>
                  </a:lnTo>
                  <a:lnTo>
                    <a:pt x="1273" y="34"/>
                  </a:lnTo>
                  <a:lnTo>
                    <a:pt x="1273" y="5"/>
                  </a:lnTo>
                  <a:lnTo>
                    <a:pt x="1301" y="0"/>
                  </a:lnTo>
                  <a:lnTo>
                    <a:pt x="1327" y="24"/>
                  </a:lnTo>
                  <a:lnTo>
                    <a:pt x="1321" y="54"/>
                  </a:lnTo>
                  <a:lnTo>
                    <a:pt x="1337" y="80"/>
                  </a:lnTo>
                  <a:lnTo>
                    <a:pt x="1327" y="107"/>
                  </a:lnTo>
                  <a:lnTo>
                    <a:pt x="1301" y="135"/>
                  </a:lnTo>
                  <a:lnTo>
                    <a:pt x="1307" y="160"/>
                  </a:lnTo>
                  <a:lnTo>
                    <a:pt x="1288" y="189"/>
                  </a:lnTo>
                  <a:lnTo>
                    <a:pt x="1282" y="189"/>
                  </a:lnTo>
                  <a:close/>
                  <a:moveTo>
                    <a:pt x="110" y="1491"/>
                  </a:moveTo>
                  <a:lnTo>
                    <a:pt x="114" y="1491"/>
                  </a:lnTo>
                  <a:lnTo>
                    <a:pt x="169" y="1491"/>
                  </a:lnTo>
                  <a:lnTo>
                    <a:pt x="194" y="1496"/>
                  </a:lnTo>
                  <a:lnTo>
                    <a:pt x="222" y="1489"/>
                  </a:lnTo>
                  <a:lnTo>
                    <a:pt x="249" y="1489"/>
                  </a:lnTo>
                  <a:lnTo>
                    <a:pt x="277" y="1483"/>
                  </a:lnTo>
                  <a:lnTo>
                    <a:pt x="303" y="1478"/>
                  </a:lnTo>
                  <a:lnTo>
                    <a:pt x="329" y="1473"/>
                  </a:lnTo>
                  <a:lnTo>
                    <a:pt x="355" y="1462"/>
                  </a:lnTo>
                  <a:lnTo>
                    <a:pt x="383" y="1465"/>
                  </a:lnTo>
                  <a:lnTo>
                    <a:pt x="409" y="1459"/>
                  </a:lnTo>
                  <a:lnTo>
                    <a:pt x="411" y="1459"/>
                  </a:lnTo>
                  <a:lnTo>
                    <a:pt x="440" y="1447"/>
                  </a:lnTo>
                  <a:lnTo>
                    <a:pt x="466" y="1436"/>
                  </a:lnTo>
                  <a:lnTo>
                    <a:pt x="494" y="1420"/>
                  </a:lnTo>
                  <a:lnTo>
                    <a:pt x="505" y="1392"/>
                  </a:lnTo>
                  <a:lnTo>
                    <a:pt x="517" y="1367"/>
                  </a:lnTo>
                  <a:lnTo>
                    <a:pt x="541" y="1341"/>
                  </a:lnTo>
                  <a:lnTo>
                    <a:pt x="549" y="1312"/>
                  </a:lnTo>
                  <a:lnTo>
                    <a:pt x="575" y="1286"/>
                  </a:lnTo>
                  <a:lnTo>
                    <a:pt x="603" y="1265"/>
                  </a:lnTo>
                  <a:lnTo>
                    <a:pt x="629" y="1256"/>
                  </a:lnTo>
                  <a:lnTo>
                    <a:pt x="646" y="1229"/>
                  </a:lnTo>
                  <a:lnTo>
                    <a:pt x="667" y="1201"/>
                  </a:lnTo>
                  <a:lnTo>
                    <a:pt x="681" y="1175"/>
                  </a:lnTo>
                  <a:lnTo>
                    <a:pt x="690" y="1150"/>
                  </a:lnTo>
                  <a:lnTo>
                    <a:pt x="699" y="1120"/>
                  </a:lnTo>
                  <a:lnTo>
                    <a:pt x="719" y="1095"/>
                  </a:lnTo>
                  <a:lnTo>
                    <a:pt x="745" y="1084"/>
                  </a:lnTo>
                  <a:lnTo>
                    <a:pt x="750" y="1058"/>
                  </a:lnTo>
                  <a:lnTo>
                    <a:pt x="724" y="1033"/>
                  </a:lnTo>
                  <a:lnTo>
                    <a:pt x="727" y="1005"/>
                  </a:lnTo>
                  <a:lnTo>
                    <a:pt x="701" y="1005"/>
                  </a:lnTo>
                  <a:lnTo>
                    <a:pt x="673" y="980"/>
                  </a:lnTo>
                  <a:lnTo>
                    <a:pt x="646" y="1007"/>
                  </a:lnTo>
                  <a:lnTo>
                    <a:pt x="621" y="1030"/>
                  </a:lnTo>
                  <a:lnTo>
                    <a:pt x="605" y="1056"/>
                  </a:lnTo>
                  <a:lnTo>
                    <a:pt x="590" y="1082"/>
                  </a:lnTo>
                  <a:lnTo>
                    <a:pt x="561" y="1105"/>
                  </a:lnTo>
                  <a:lnTo>
                    <a:pt x="536" y="1097"/>
                  </a:lnTo>
                  <a:lnTo>
                    <a:pt x="510" y="1115"/>
                  </a:lnTo>
                  <a:lnTo>
                    <a:pt x="502" y="1141"/>
                  </a:lnTo>
                  <a:lnTo>
                    <a:pt x="531" y="1152"/>
                  </a:lnTo>
                  <a:lnTo>
                    <a:pt x="512" y="1178"/>
                  </a:lnTo>
                  <a:lnTo>
                    <a:pt x="487" y="1175"/>
                  </a:lnTo>
                  <a:lnTo>
                    <a:pt x="461" y="1178"/>
                  </a:lnTo>
                  <a:lnTo>
                    <a:pt x="434" y="1203"/>
                  </a:lnTo>
                  <a:lnTo>
                    <a:pt x="425" y="1229"/>
                  </a:lnTo>
                  <a:lnTo>
                    <a:pt x="399" y="1245"/>
                  </a:lnTo>
                  <a:lnTo>
                    <a:pt x="372" y="1261"/>
                  </a:lnTo>
                  <a:lnTo>
                    <a:pt x="347" y="1270"/>
                  </a:lnTo>
                  <a:lnTo>
                    <a:pt x="319" y="1281"/>
                  </a:lnTo>
                  <a:lnTo>
                    <a:pt x="293" y="1302"/>
                  </a:lnTo>
                  <a:lnTo>
                    <a:pt x="266" y="1302"/>
                  </a:lnTo>
                  <a:lnTo>
                    <a:pt x="238" y="1300"/>
                  </a:lnTo>
                  <a:lnTo>
                    <a:pt x="212" y="1297"/>
                  </a:lnTo>
                  <a:lnTo>
                    <a:pt x="183" y="1289"/>
                  </a:lnTo>
                  <a:lnTo>
                    <a:pt x="158" y="1291"/>
                  </a:lnTo>
                  <a:lnTo>
                    <a:pt x="130" y="1281"/>
                  </a:lnTo>
                  <a:lnTo>
                    <a:pt x="104" y="1273"/>
                  </a:lnTo>
                  <a:lnTo>
                    <a:pt x="77" y="1276"/>
                  </a:lnTo>
                  <a:lnTo>
                    <a:pt x="49" y="1258"/>
                  </a:lnTo>
                  <a:lnTo>
                    <a:pt x="24" y="1273"/>
                  </a:lnTo>
                  <a:lnTo>
                    <a:pt x="3" y="1271"/>
                  </a:lnTo>
                  <a:lnTo>
                    <a:pt x="5" y="1277"/>
                  </a:lnTo>
                  <a:lnTo>
                    <a:pt x="4" y="1279"/>
                  </a:lnTo>
                  <a:lnTo>
                    <a:pt x="2" y="1286"/>
                  </a:lnTo>
                  <a:lnTo>
                    <a:pt x="0" y="1297"/>
                  </a:lnTo>
                  <a:lnTo>
                    <a:pt x="0" y="1309"/>
                  </a:lnTo>
                  <a:lnTo>
                    <a:pt x="1" y="1316"/>
                  </a:lnTo>
                  <a:lnTo>
                    <a:pt x="2" y="1323"/>
                  </a:lnTo>
                  <a:lnTo>
                    <a:pt x="5" y="1330"/>
                  </a:lnTo>
                  <a:lnTo>
                    <a:pt x="9" y="1336"/>
                  </a:lnTo>
                  <a:lnTo>
                    <a:pt x="15" y="1343"/>
                  </a:lnTo>
                  <a:lnTo>
                    <a:pt x="21" y="1349"/>
                  </a:lnTo>
                  <a:lnTo>
                    <a:pt x="29" y="1354"/>
                  </a:lnTo>
                  <a:lnTo>
                    <a:pt x="40" y="1360"/>
                  </a:lnTo>
                  <a:lnTo>
                    <a:pt x="61" y="1366"/>
                  </a:lnTo>
                  <a:lnTo>
                    <a:pt x="77" y="1372"/>
                  </a:lnTo>
                  <a:lnTo>
                    <a:pt x="90" y="1376"/>
                  </a:lnTo>
                  <a:lnTo>
                    <a:pt x="101" y="1382"/>
                  </a:lnTo>
                  <a:lnTo>
                    <a:pt x="105" y="1386"/>
                  </a:lnTo>
                  <a:lnTo>
                    <a:pt x="109" y="1389"/>
                  </a:lnTo>
                  <a:lnTo>
                    <a:pt x="111" y="1393"/>
                  </a:lnTo>
                  <a:lnTo>
                    <a:pt x="114" y="1398"/>
                  </a:lnTo>
                  <a:lnTo>
                    <a:pt x="115" y="1405"/>
                  </a:lnTo>
                  <a:lnTo>
                    <a:pt x="117" y="1411"/>
                  </a:lnTo>
                  <a:lnTo>
                    <a:pt x="118" y="1419"/>
                  </a:lnTo>
                  <a:lnTo>
                    <a:pt x="119" y="1429"/>
                  </a:lnTo>
                  <a:lnTo>
                    <a:pt x="119" y="1447"/>
                  </a:lnTo>
                  <a:lnTo>
                    <a:pt x="118" y="1461"/>
                  </a:lnTo>
                  <a:lnTo>
                    <a:pt x="117" y="1472"/>
                  </a:lnTo>
                  <a:lnTo>
                    <a:pt x="115" y="1479"/>
                  </a:lnTo>
                  <a:lnTo>
                    <a:pt x="111" y="1488"/>
                  </a:lnTo>
                  <a:lnTo>
                    <a:pt x="110" y="1490"/>
                  </a:lnTo>
                  <a:lnTo>
                    <a:pt x="110" y="1491"/>
                  </a:lnTo>
                  <a:close/>
                  <a:moveTo>
                    <a:pt x="773" y="1059"/>
                  </a:moveTo>
                  <a:lnTo>
                    <a:pt x="763" y="1084"/>
                  </a:lnTo>
                  <a:lnTo>
                    <a:pt x="738" y="1109"/>
                  </a:lnTo>
                  <a:lnTo>
                    <a:pt x="758" y="1079"/>
                  </a:lnTo>
                  <a:lnTo>
                    <a:pt x="768" y="1054"/>
                  </a:lnTo>
                  <a:lnTo>
                    <a:pt x="773" y="1059"/>
                  </a:lnTo>
                  <a:close/>
                  <a:moveTo>
                    <a:pt x="825" y="775"/>
                  </a:moveTo>
                  <a:lnTo>
                    <a:pt x="800" y="769"/>
                  </a:lnTo>
                  <a:lnTo>
                    <a:pt x="825" y="756"/>
                  </a:lnTo>
                  <a:lnTo>
                    <a:pt x="825" y="775"/>
                  </a:lnTo>
                  <a:close/>
                  <a:moveTo>
                    <a:pt x="825" y="627"/>
                  </a:moveTo>
                  <a:lnTo>
                    <a:pt x="810" y="653"/>
                  </a:lnTo>
                  <a:lnTo>
                    <a:pt x="794" y="627"/>
                  </a:lnTo>
                  <a:lnTo>
                    <a:pt x="823" y="611"/>
                  </a:lnTo>
                  <a:lnTo>
                    <a:pt x="825" y="627"/>
                  </a:lnTo>
                  <a:close/>
                  <a:moveTo>
                    <a:pt x="900" y="414"/>
                  </a:moveTo>
                  <a:lnTo>
                    <a:pt x="872" y="397"/>
                  </a:lnTo>
                  <a:lnTo>
                    <a:pt x="846" y="370"/>
                  </a:lnTo>
                  <a:lnTo>
                    <a:pt x="853" y="344"/>
                  </a:lnTo>
                  <a:lnTo>
                    <a:pt x="825" y="319"/>
                  </a:lnTo>
                  <a:lnTo>
                    <a:pt x="820" y="290"/>
                  </a:lnTo>
                  <a:lnTo>
                    <a:pt x="846" y="287"/>
                  </a:lnTo>
                  <a:lnTo>
                    <a:pt x="872" y="308"/>
                  </a:lnTo>
                  <a:lnTo>
                    <a:pt x="883" y="337"/>
                  </a:lnTo>
                  <a:lnTo>
                    <a:pt x="897" y="363"/>
                  </a:lnTo>
                  <a:lnTo>
                    <a:pt x="913" y="391"/>
                  </a:lnTo>
                  <a:lnTo>
                    <a:pt x="900" y="414"/>
                  </a:lnTo>
                  <a:close/>
                  <a:moveTo>
                    <a:pt x="1312" y="285"/>
                  </a:moveTo>
                  <a:lnTo>
                    <a:pt x="1314" y="259"/>
                  </a:lnTo>
                  <a:lnTo>
                    <a:pt x="1286" y="238"/>
                  </a:lnTo>
                  <a:lnTo>
                    <a:pt x="1286" y="264"/>
                  </a:lnTo>
                  <a:lnTo>
                    <a:pt x="1312" y="285"/>
                  </a:lnTo>
                  <a:close/>
                  <a:moveTo>
                    <a:pt x="1268" y="257"/>
                  </a:moveTo>
                  <a:lnTo>
                    <a:pt x="1270" y="231"/>
                  </a:lnTo>
                  <a:lnTo>
                    <a:pt x="1254" y="202"/>
                  </a:lnTo>
                  <a:lnTo>
                    <a:pt x="1244" y="176"/>
                  </a:lnTo>
                  <a:lnTo>
                    <a:pt x="1242" y="202"/>
                  </a:lnTo>
                  <a:lnTo>
                    <a:pt x="1254" y="227"/>
                  </a:lnTo>
                  <a:lnTo>
                    <a:pt x="1265" y="257"/>
                  </a:lnTo>
                  <a:lnTo>
                    <a:pt x="1268" y="257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2" name="Freeform 20"/>
            <p:cNvSpPr>
              <a:spLocks noEditPoints="1"/>
            </p:cNvSpPr>
            <p:nvPr/>
          </p:nvSpPr>
          <p:spPr bwMode="auto">
            <a:xfrm>
              <a:off x="6033050" y="1918663"/>
              <a:ext cx="1088324" cy="1061863"/>
            </a:xfrm>
            <a:custGeom>
              <a:avLst/>
              <a:gdLst>
                <a:gd name="T0" fmla="*/ 2147483647 w 1850"/>
                <a:gd name="T1" fmla="*/ 2147483647 h 1806"/>
                <a:gd name="T2" fmla="*/ 2147483647 w 1850"/>
                <a:gd name="T3" fmla="*/ 2147483647 h 1806"/>
                <a:gd name="T4" fmla="*/ 2147483647 w 1850"/>
                <a:gd name="T5" fmla="*/ 2147483647 h 1806"/>
                <a:gd name="T6" fmla="*/ 2147483647 w 1850"/>
                <a:gd name="T7" fmla="*/ 2147483647 h 1806"/>
                <a:gd name="T8" fmla="*/ 2147483647 w 1850"/>
                <a:gd name="T9" fmla="*/ 2147483647 h 1806"/>
                <a:gd name="T10" fmla="*/ 2147483647 w 1850"/>
                <a:gd name="T11" fmla="*/ 2147483647 h 1806"/>
                <a:gd name="T12" fmla="*/ 2147483647 w 1850"/>
                <a:gd name="T13" fmla="*/ 2147483647 h 1806"/>
                <a:gd name="T14" fmla="*/ 2147483647 w 1850"/>
                <a:gd name="T15" fmla="*/ 2147483647 h 1806"/>
                <a:gd name="T16" fmla="*/ 2147483647 w 1850"/>
                <a:gd name="T17" fmla="*/ 2147483647 h 1806"/>
                <a:gd name="T18" fmla="*/ 2147483647 w 1850"/>
                <a:gd name="T19" fmla="*/ 2147483647 h 1806"/>
                <a:gd name="T20" fmla="*/ 2147483647 w 1850"/>
                <a:gd name="T21" fmla="*/ 2147483647 h 1806"/>
                <a:gd name="T22" fmla="*/ 2147483647 w 1850"/>
                <a:gd name="T23" fmla="*/ 2147483647 h 1806"/>
                <a:gd name="T24" fmla="*/ 2147483647 w 1850"/>
                <a:gd name="T25" fmla="*/ 2147483647 h 1806"/>
                <a:gd name="T26" fmla="*/ 2147483647 w 1850"/>
                <a:gd name="T27" fmla="*/ 2147483647 h 1806"/>
                <a:gd name="T28" fmla="*/ 2147483647 w 1850"/>
                <a:gd name="T29" fmla="*/ 2147483647 h 1806"/>
                <a:gd name="T30" fmla="*/ 2147483647 w 1850"/>
                <a:gd name="T31" fmla="*/ 2147483647 h 1806"/>
                <a:gd name="T32" fmla="*/ 2147483647 w 1850"/>
                <a:gd name="T33" fmla="*/ 2147483647 h 1806"/>
                <a:gd name="T34" fmla="*/ 2147483647 w 1850"/>
                <a:gd name="T35" fmla="*/ 2147483647 h 1806"/>
                <a:gd name="T36" fmla="*/ 2147483647 w 1850"/>
                <a:gd name="T37" fmla="*/ 2147483647 h 1806"/>
                <a:gd name="T38" fmla="*/ 2147483647 w 1850"/>
                <a:gd name="T39" fmla="*/ 2147483647 h 1806"/>
                <a:gd name="T40" fmla="*/ 2147483647 w 1850"/>
                <a:gd name="T41" fmla="*/ 2147483647 h 1806"/>
                <a:gd name="T42" fmla="*/ 2147483647 w 1850"/>
                <a:gd name="T43" fmla="*/ 2147483647 h 1806"/>
                <a:gd name="T44" fmla="*/ 2147483647 w 1850"/>
                <a:gd name="T45" fmla="*/ 2147483647 h 1806"/>
                <a:gd name="T46" fmla="*/ 2147483647 w 1850"/>
                <a:gd name="T47" fmla="*/ 2147483647 h 1806"/>
                <a:gd name="T48" fmla="*/ 2147483647 w 1850"/>
                <a:gd name="T49" fmla="*/ 2147483647 h 1806"/>
                <a:gd name="T50" fmla="*/ 2147483647 w 1850"/>
                <a:gd name="T51" fmla="*/ 2147483647 h 1806"/>
                <a:gd name="T52" fmla="*/ 2147483647 w 1850"/>
                <a:gd name="T53" fmla="*/ 2147483647 h 1806"/>
                <a:gd name="T54" fmla="*/ 2147483647 w 1850"/>
                <a:gd name="T55" fmla="*/ 2147483647 h 1806"/>
                <a:gd name="T56" fmla="*/ 2147483647 w 1850"/>
                <a:gd name="T57" fmla="*/ 2147483647 h 1806"/>
                <a:gd name="T58" fmla="*/ 2147483647 w 1850"/>
                <a:gd name="T59" fmla="*/ 2147483647 h 1806"/>
                <a:gd name="T60" fmla="*/ 2147483647 w 1850"/>
                <a:gd name="T61" fmla="*/ 2147483647 h 1806"/>
                <a:gd name="T62" fmla="*/ 2147483647 w 1850"/>
                <a:gd name="T63" fmla="*/ 2147483647 h 1806"/>
                <a:gd name="T64" fmla="*/ 2147483647 w 1850"/>
                <a:gd name="T65" fmla="*/ 2147483647 h 1806"/>
                <a:gd name="T66" fmla="*/ 2147483647 w 1850"/>
                <a:gd name="T67" fmla="*/ 2147483647 h 1806"/>
                <a:gd name="T68" fmla="*/ 2147483647 w 1850"/>
                <a:gd name="T69" fmla="*/ 2147483647 h 1806"/>
                <a:gd name="T70" fmla="*/ 2147483647 w 1850"/>
                <a:gd name="T71" fmla="*/ 2147483647 h 1806"/>
                <a:gd name="T72" fmla="*/ 2147483647 w 1850"/>
                <a:gd name="T73" fmla="*/ 2147483647 h 1806"/>
                <a:gd name="T74" fmla="*/ 2147483647 w 1850"/>
                <a:gd name="T75" fmla="*/ 2147483647 h 1806"/>
                <a:gd name="T76" fmla="*/ 2147483647 w 1850"/>
                <a:gd name="T77" fmla="*/ 2147483647 h 1806"/>
                <a:gd name="T78" fmla="*/ 2147483647 w 1850"/>
                <a:gd name="T79" fmla="*/ 2147483647 h 1806"/>
                <a:gd name="T80" fmla="*/ 2147483647 w 1850"/>
                <a:gd name="T81" fmla="*/ 2147483647 h 1806"/>
                <a:gd name="T82" fmla="*/ 2147483647 w 1850"/>
                <a:gd name="T83" fmla="*/ 2147483647 h 1806"/>
                <a:gd name="T84" fmla="*/ 2147483647 w 1850"/>
                <a:gd name="T85" fmla="*/ 2147483647 h 1806"/>
                <a:gd name="T86" fmla="*/ 2147483647 w 1850"/>
                <a:gd name="T87" fmla="*/ 2147483647 h 1806"/>
                <a:gd name="T88" fmla="*/ 2147483647 w 1850"/>
                <a:gd name="T89" fmla="*/ 2147483647 h 1806"/>
                <a:gd name="T90" fmla="*/ 2147483647 w 1850"/>
                <a:gd name="T91" fmla="*/ 2147483647 h 1806"/>
                <a:gd name="T92" fmla="*/ 2147483647 w 1850"/>
                <a:gd name="T93" fmla="*/ 2147483647 h 1806"/>
                <a:gd name="T94" fmla="*/ 2147483647 w 1850"/>
                <a:gd name="T95" fmla="*/ 2147483647 h 1806"/>
                <a:gd name="T96" fmla="*/ 2147483647 w 1850"/>
                <a:gd name="T97" fmla="*/ 2147483647 h 1806"/>
                <a:gd name="T98" fmla="*/ 2147483647 w 1850"/>
                <a:gd name="T99" fmla="*/ 2147483647 h 1806"/>
                <a:gd name="T100" fmla="*/ 2147483647 w 1850"/>
                <a:gd name="T101" fmla="*/ 2147483647 h 1806"/>
                <a:gd name="T102" fmla="*/ 2147483647 w 1850"/>
                <a:gd name="T103" fmla="*/ 2147483647 h 1806"/>
                <a:gd name="T104" fmla="*/ 2147483647 w 1850"/>
                <a:gd name="T105" fmla="*/ 2147483647 h 1806"/>
                <a:gd name="T106" fmla="*/ 0 w 1850"/>
                <a:gd name="T107" fmla="*/ 2147483647 h 1806"/>
                <a:gd name="T108" fmla="*/ 2147483647 w 1850"/>
                <a:gd name="T109" fmla="*/ 2147483647 h 1806"/>
                <a:gd name="T110" fmla="*/ 2147483647 w 1850"/>
                <a:gd name="T111" fmla="*/ 2147483647 h 1806"/>
                <a:gd name="T112" fmla="*/ 2147483647 w 1850"/>
                <a:gd name="T113" fmla="*/ 2147483647 h 1806"/>
                <a:gd name="T114" fmla="*/ 2147483647 w 1850"/>
                <a:gd name="T115" fmla="*/ 2147483647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850" h="1806">
                  <a:moveTo>
                    <a:pt x="383" y="1559"/>
                  </a:moveTo>
                  <a:lnTo>
                    <a:pt x="412" y="1567"/>
                  </a:lnTo>
                  <a:lnTo>
                    <a:pt x="438" y="1567"/>
                  </a:lnTo>
                  <a:lnTo>
                    <a:pt x="463" y="1573"/>
                  </a:lnTo>
                  <a:lnTo>
                    <a:pt x="489" y="1569"/>
                  </a:lnTo>
                  <a:lnTo>
                    <a:pt x="518" y="1564"/>
                  </a:lnTo>
                  <a:lnTo>
                    <a:pt x="544" y="1564"/>
                  </a:lnTo>
                  <a:lnTo>
                    <a:pt x="572" y="1562"/>
                  </a:lnTo>
                  <a:lnTo>
                    <a:pt x="600" y="1562"/>
                  </a:lnTo>
                  <a:lnTo>
                    <a:pt x="627" y="1567"/>
                  </a:lnTo>
                  <a:lnTo>
                    <a:pt x="655" y="1569"/>
                  </a:lnTo>
                  <a:lnTo>
                    <a:pt x="683" y="1573"/>
                  </a:lnTo>
                  <a:lnTo>
                    <a:pt x="710" y="1573"/>
                  </a:lnTo>
                  <a:lnTo>
                    <a:pt x="680" y="1593"/>
                  </a:lnTo>
                  <a:lnTo>
                    <a:pt x="655" y="1596"/>
                  </a:lnTo>
                  <a:lnTo>
                    <a:pt x="627" y="1593"/>
                  </a:lnTo>
                  <a:lnTo>
                    <a:pt x="600" y="1601"/>
                  </a:lnTo>
                  <a:lnTo>
                    <a:pt x="574" y="1608"/>
                  </a:lnTo>
                  <a:lnTo>
                    <a:pt x="546" y="1601"/>
                  </a:lnTo>
                  <a:lnTo>
                    <a:pt x="521" y="1608"/>
                  </a:lnTo>
                  <a:lnTo>
                    <a:pt x="492" y="1608"/>
                  </a:lnTo>
                  <a:lnTo>
                    <a:pt x="463" y="1606"/>
                  </a:lnTo>
                  <a:lnTo>
                    <a:pt x="438" y="1611"/>
                  </a:lnTo>
                  <a:lnTo>
                    <a:pt x="412" y="1614"/>
                  </a:lnTo>
                  <a:lnTo>
                    <a:pt x="383" y="1590"/>
                  </a:lnTo>
                  <a:lnTo>
                    <a:pt x="357" y="1588"/>
                  </a:lnTo>
                  <a:lnTo>
                    <a:pt x="371" y="1559"/>
                  </a:lnTo>
                  <a:lnTo>
                    <a:pt x="383" y="1559"/>
                  </a:lnTo>
                  <a:close/>
                  <a:moveTo>
                    <a:pt x="1767" y="930"/>
                  </a:moveTo>
                  <a:lnTo>
                    <a:pt x="1772" y="938"/>
                  </a:lnTo>
                  <a:lnTo>
                    <a:pt x="1798" y="963"/>
                  </a:lnTo>
                  <a:lnTo>
                    <a:pt x="1821" y="993"/>
                  </a:lnTo>
                  <a:lnTo>
                    <a:pt x="1850" y="1000"/>
                  </a:lnTo>
                  <a:lnTo>
                    <a:pt x="1829" y="974"/>
                  </a:lnTo>
                  <a:lnTo>
                    <a:pt x="1803" y="954"/>
                  </a:lnTo>
                  <a:lnTo>
                    <a:pt x="1777" y="930"/>
                  </a:lnTo>
                  <a:lnTo>
                    <a:pt x="1767" y="930"/>
                  </a:lnTo>
                  <a:close/>
                  <a:moveTo>
                    <a:pt x="1104" y="1435"/>
                  </a:moveTo>
                  <a:lnTo>
                    <a:pt x="1133" y="1422"/>
                  </a:lnTo>
                  <a:lnTo>
                    <a:pt x="1159" y="1401"/>
                  </a:lnTo>
                  <a:lnTo>
                    <a:pt x="1185" y="1401"/>
                  </a:lnTo>
                  <a:lnTo>
                    <a:pt x="1210" y="1414"/>
                  </a:lnTo>
                  <a:lnTo>
                    <a:pt x="1237" y="1438"/>
                  </a:lnTo>
                  <a:lnTo>
                    <a:pt x="1265" y="1438"/>
                  </a:lnTo>
                  <a:lnTo>
                    <a:pt x="1291" y="1456"/>
                  </a:lnTo>
                  <a:lnTo>
                    <a:pt x="1316" y="1481"/>
                  </a:lnTo>
                  <a:lnTo>
                    <a:pt x="1343" y="1486"/>
                  </a:lnTo>
                  <a:lnTo>
                    <a:pt x="1350" y="1515"/>
                  </a:lnTo>
                  <a:lnTo>
                    <a:pt x="1322" y="1536"/>
                  </a:lnTo>
                  <a:lnTo>
                    <a:pt x="1296" y="1534"/>
                  </a:lnTo>
                  <a:lnTo>
                    <a:pt x="1270" y="1523"/>
                  </a:lnTo>
                  <a:lnTo>
                    <a:pt x="1242" y="1528"/>
                  </a:lnTo>
                  <a:lnTo>
                    <a:pt x="1216" y="1528"/>
                  </a:lnTo>
                  <a:lnTo>
                    <a:pt x="1187" y="1525"/>
                  </a:lnTo>
                  <a:lnTo>
                    <a:pt x="1162" y="1539"/>
                  </a:lnTo>
                  <a:lnTo>
                    <a:pt x="1136" y="1544"/>
                  </a:lnTo>
                  <a:lnTo>
                    <a:pt x="1107" y="1531"/>
                  </a:lnTo>
                  <a:lnTo>
                    <a:pt x="1081" y="1516"/>
                  </a:lnTo>
                  <a:lnTo>
                    <a:pt x="1081" y="1490"/>
                  </a:lnTo>
                  <a:lnTo>
                    <a:pt x="1086" y="1461"/>
                  </a:lnTo>
                  <a:lnTo>
                    <a:pt x="1092" y="1435"/>
                  </a:lnTo>
                  <a:lnTo>
                    <a:pt x="1104" y="1435"/>
                  </a:lnTo>
                  <a:close/>
                  <a:moveTo>
                    <a:pt x="577" y="1629"/>
                  </a:moveTo>
                  <a:lnTo>
                    <a:pt x="562" y="1626"/>
                  </a:lnTo>
                  <a:lnTo>
                    <a:pt x="544" y="1652"/>
                  </a:lnTo>
                  <a:lnTo>
                    <a:pt x="546" y="1679"/>
                  </a:lnTo>
                  <a:lnTo>
                    <a:pt x="554" y="1704"/>
                  </a:lnTo>
                  <a:lnTo>
                    <a:pt x="569" y="1733"/>
                  </a:lnTo>
                  <a:lnTo>
                    <a:pt x="577" y="1758"/>
                  </a:lnTo>
                  <a:lnTo>
                    <a:pt x="583" y="1785"/>
                  </a:lnTo>
                  <a:lnTo>
                    <a:pt x="611" y="1806"/>
                  </a:lnTo>
                  <a:lnTo>
                    <a:pt x="621" y="1785"/>
                  </a:lnTo>
                  <a:lnTo>
                    <a:pt x="611" y="1762"/>
                  </a:lnTo>
                  <a:lnTo>
                    <a:pt x="600" y="1735"/>
                  </a:lnTo>
                  <a:lnTo>
                    <a:pt x="585" y="1709"/>
                  </a:lnTo>
                  <a:lnTo>
                    <a:pt x="580" y="1684"/>
                  </a:lnTo>
                  <a:lnTo>
                    <a:pt x="590" y="1656"/>
                  </a:lnTo>
                  <a:lnTo>
                    <a:pt x="577" y="1629"/>
                  </a:lnTo>
                  <a:close/>
                  <a:moveTo>
                    <a:pt x="1392" y="219"/>
                  </a:moveTo>
                  <a:lnTo>
                    <a:pt x="1405" y="216"/>
                  </a:lnTo>
                  <a:lnTo>
                    <a:pt x="1431" y="208"/>
                  </a:lnTo>
                  <a:lnTo>
                    <a:pt x="1456" y="208"/>
                  </a:lnTo>
                  <a:lnTo>
                    <a:pt x="1484" y="193"/>
                  </a:lnTo>
                  <a:lnTo>
                    <a:pt x="1503" y="166"/>
                  </a:lnTo>
                  <a:lnTo>
                    <a:pt x="1516" y="138"/>
                  </a:lnTo>
                  <a:lnTo>
                    <a:pt x="1521" y="112"/>
                  </a:lnTo>
                  <a:lnTo>
                    <a:pt x="1534" y="87"/>
                  </a:lnTo>
                  <a:lnTo>
                    <a:pt x="1539" y="78"/>
                  </a:lnTo>
                  <a:lnTo>
                    <a:pt x="1532" y="50"/>
                  </a:lnTo>
                  <a:lnTo>
                    <a:pt x="1528" y="45"/>
                  </a:lnTo>
                  <a:lnTo>
                    <a:pt x="1508" y="19"/>
                  </a:lnTo>
                  <a:lnTo>
                    <a:pt x="1493" y="0"/>
                  </a:lnTo>
                  <a:lnTo>
                    <a:pt x="1470" y="22"/>
                  </a:lnTo>
                  <a:lnTo>
                    <a:pt x="1441" y="34"/>
                  </a:lnTo>
                  <a:lnTo>
                    <a:pt x="1415" y="58"/>
                  </a:lnTo>
                  <a:lnTo>
                    <a:pt x="1397" y="83"/>
                  </a:lnTo>
                  <a:lnTo>
                    <a:pt x="1381" y="110"/>
                  </a:lnTo>
                  <a:lnTo>
                    <a:pt x="1374" y="136"/>
                  </a:lnTo>
                  <a:lnTo>
                    <a:pt x="1381" y="164"/>
                  </a:lnTo>
                  <a:lnTo>
                    <a:pt x="1381" y="190"/>
                  </a:lnTo>
                  <a:lnTo>
                    <a:pt x="1392" y="219"/>
                  </a:lnTo>
                  <a:close/>
                  <a:moveTo>
                    <a:pt x="1095" y="930"/>
                  </a:moveTo>
                  <a:lnTo>
                    <a:pt x="1102" y="930"/>
                  </a:lnTo>
                  <a:lnTo>
                    <a:pt x="1102" y="928"/>
                  </a:lnTo>
                  <a:lnTo>
                    <a:pt x="1081" y="902"/>
                  </a:lnTo>
                  <a:lnTo>
                    <a:pt x="1095" y="930"/>
                  </a:lnTo>
                  <a:close/>
                  <a:moveTo>
                    <a:pt x="1185" y="930"/>
                  </a:moveTo>
                  <a:lnTo>
                    <a:pt x="1185" y="954"/>
                  </a:lnTo>
                  <a:lnTo>
                    <a:pt x="1182" y="982"/>
                  </a:lnTo>
                  <a:lnTo>
                    <a:pt x="1177" y="1008"/>
                  </a:lnTo>
                  <a:lnTo>
                    <a:pt x="1196" y="1036"/>
                  </a:lnTo>
                  <a:lnTo>
                    <a:pt x="1221" y="1050"/>
                  </a:lnTo>
                  <a:lnTo>
                    <a:pt x="1249" y="1067"/>
                  </a:lnTo>
                  <a:lnTo>
                    <a:pt x="1263" y="1094"/>
                  </a:lnTo>
                  <a:lnTo>
                    <a:pt x="1278" y="1122"/>
                  </a:lnTo>
                  <a:lnTo>
                    <a:pt x="1293" y="1147"/>
                  </a:lnTo>
                  <a:lnTo>
                    <a:pt x="1304" y="1177"/>
                  </a:lnTo>
                  <a:lnTo>
                    <a:pt x="1330" y="1189"/>
                  </a:lnTo>
                  <a:lnTo>
                    <a:pt x="1355" y="1200"/>
                  </a:lnTo>
                  <a:lnTo>
                    <a:pt x="1384" y="1212"/>
                  </a:lnTo>
                  <a:lnTo>
                    <a:pt x="1389" y="1241"/>
                  </a:lnTo>
                  <a:lnTo>
                    <a:pt x="1415" y="1244"/>
                  </a:lnTo>
                  <a:lnTo>
                    <a:pt x="1441" y="1244"/>
                  </a:lnTo>
                  <a:lnTo>
                    <a:pt x="1415" y="1220"/>
                  </a:lnTo>
                  <a:lnTo>
                    <a:pt x="1389" y="1197"/>
                  </a:lnTo>
                  <a:lnTo>
                    <a:pt x="1366" y="1171"/>
                  </a:lnTo>
                  <a:lnTo>
                    <a:pt x="1350" y="1143"/>
                  </a:lnTo>
                  <a:lnTo>
                    <a:pt x="1335" y="1117"/>
                  </a:lnTo>
                  <a:lnTo>
                    <a:pt x="1316" y="1091"/>
                  </a:lnTo>
                  <a:lnTo>
                    <a:pt x="1307" y="1062"/>
                  </a:lnTo>
                  <a:lnTo>
                    <a:pt x="1296" y="1036"/>
                  </a:lnTo>
                  <a:lnTo>
                    <a:pt x="1286" y="1011"/>
                  </a:lnTo>
                  <a:lnTo>
                    <a:pt x="1278" y="982"/>
                  </a:lnTo>
                  <a:lnTo>
                    <a:pt x="1265" y="956"/>
                  </a:lnTo>
                  <a:lnTo>
                    <a:pt x="1254" y="930"/>
                  </a:lnTo>
                  <a:lnTo>
                    <a:pt x="1254" y="925"/>
                  </a:lnTo>
                  <a:lnTo>
                    <a:pt x="1258" y="899"/>
                  </a:lnTo>
                  <a:lnTo>
                    <a:pt x="1268" y="871"/>
                  </a:lnTo>
                  <a:lnTo>
                    <a:pt x="1263" y="845"/>
                  </a:lnTo>
                  <a:lnTo>
                    <a:pt x="1252" y="819"/>
                  </a:lnTo>
                  <a:lnTo>
                    <a:pt x="1263" y="793"/>
                  </a:lnTo>
                  <a:lnTo>
                    <a:pt x="1286" y="764"/>
                  </a:lnTo>
                  <a:lnTo>
                    <a:pt x="1314" y="767"/>
                  </a:lnTo>
                  <a:lnTo>
                    <a:pt x="1340" y="769"/>
                  </a:lnTo>
                  <a:lnTo>
                    <a:pt x="1366" y="785"/>
                  </a:lnTo>
                  <a:lnTo>
                    <a:pt x="1392" y="793"/>
                  </a:lnTo>
                  <a:lnTo>
                    <a:pt x="1420" y="790"/>
                  </a:lnTo>
                  <a:lnTo>
                    <a:pt x="1446" y="790"/>
                  </a:lnTo>
                  <a:lnTo>
                    <a:pt x="1475" y="806"/>
                  </a:lnTo>
                  <a:lnTo>
                    <a:pt x="1500" y="822"/>
                  </a:lnTo>
                  <a:lnTo>
                    <a:pt x="1528" y="829"/>
                  </a:lnTo>
                  <a:lnTo>
                    <a:pt x="1558" y="834"/>
                  </a:lnTo>
                  <a:lnTo>
                    <a:pt x="1583" y="840"/>
                  </a:lnTo>
                  <a:lnTo>
                    <a:pt x="1611" y="852"/>
                  </a:lnTo>
                  <a:lnTo>
                    <a:pt x="1588" y="824"/>
                  </a:lnTo>
                  <a:lnTo>
                    <a:pt x="1562" y="816"/>
                  </a:lnTo>
                  <a:lnTo>
                    <a:pt x="1537" y="808"/>
                  </a:lnTo>
                  <a:lnTo>
                    <a:pt x="1539" y="783"/>
                  </a:lnTo>
                  <a:lnTo>
                    <a:pt x="1532" y="757"/>
                  </a:lnTo>
                  <a:lnTo>
                    <a:pt x="1514" y="731"/>
                  </a:lnTo>
                  <a:lnTo>
                    <a:pt x="1485" y="723"/>
                  </a:lnTo>
                  <a:lnTo>
                    <a:pt x="1459" y="716"/>
                  </a:lnTo>
                  <a:lnTo>
                    <a:pt x="1433" y="705"/>
                  </a:lnTo>
                  <a:lnTo>
                    <a:pt x="1405" y="695"/>
                  </a:lnTo>
                  <a:lnTo>
                    <a:pt x="1379" y="672"/>
                  </a:lnTo>
                  <a:lnTo>
                    <a:pt x="1371" y="643"/>
                  </a:lnTo>
                  <a:lnTo>
                    <a:pt x="1399" y="638"/>
                  </a:lnTo>
                  <a:lnTo>
                    <a:pt x="1410" y="612"/>
                  </a:lnTo>
                  <a:lnTo>
                    <a:pt x="1438" y="606"/>
                  </a:lnTo>
                  <a:lnTo>
                    <a:pt x="1464" y="591"/>
                  </a:lnTo>
                  <a:lnTo>
                    <a:pt x="1490" y="578"/>
                  </a:lnTo>
                  <a:lnTo>
                    <a:pt x="1516" y="562"/>
                  </a:lnTo>
                  <a:lnTo>
                    <a:pt x="1542" y="534"/>
                  </a:lnTo>
                  <a:lnTo>
                    <a:pt x="1542" y="508"/>
                  </a:lnTo>
                  <a:lnTo>
                    <a:pt x="1547" y="483"/>
                  </a:lnTo>
                  <a:lnTo>
                    <a:pt x="1558" y="454"/>
                  </a:lnTo>
                  <a:lnTo>
                    <a:pt x="1539" y="426"/>
                  </a:lnTo>
                  <a:lnTo>
                    <a:pt x="1539" y="400"/>
                  </a:lnTo>
                  <a:lnTo>
                    <a:pt x="1528" y="373"/>
                  </a:lnTo>
                  <a:lnTo>
                    <a:pt x="1500" y="376"/>
                  </a:lnTo>
                  <a:lnTo>
                    <a:pt x="1475" y="389"/>
                  </a:lnTo>
                  <a:lnTo>
                    <a:pt x="1449" y="389"/>
                  </a:lnTo>
                  <a:lnTo>
                    <a:pt x="1420" y="405"/>
                  </a:lnTo>
                  <a:lnTo>
                    <a:pt x="1394" y="426"/>
                  </a:lnTo>
                  <a:lnTo>
                    <a:pt x="1366" y="441"/>
                  </a:lnTo>
                  <a:lnTo>
                    <a:pt x="1348" y="467"/>
                  </a:lnTo>
                  <a:lnTo>
                    <a:pt x="1337" y="495"/>
                  </a:lnTo>
                  <a:lnTo>
                    <a:pt x="1364" y="508"/>
                  </a:lnTo>
                  <a:lnTo>
                    <a:pt x="1337" y="537"/>
                  </a:lnTo>
                  <a:lnTo>
                    <a:pt x="1311" y="537"/>
                  </a:lnTo>
                  <a:lnTo>
                    <a:pt x="1286" y="552"/>
                  </a:lnTo>
                  <a:lnTo>
                    <a:pt x="1270" y="578"/>
                  </a:lnTo>
                  <a:lnTo>
                    <a:pt x="1268" y="606"/>
                  </a:lnTo>
                  <a:lnTo>
                    <a:pt x="1258" y="635"/>
                  </a:lnTo>
                  <a:lnTo>
                    <a:pt x="1231" y="648"/>
                  </a:lnTo>
                  <a:lnTo>
                    <a:pt x="1203" y="643"/>
                  </a:lnTo>
                  <a:lnTo>
                    <a:pt x="1177" y="619"/>
                  </a:lnTo>
                  <a:lnTo>
                    <a:pt x="1164" y="594"/>
                  </a:lnTo>
                  <a:lnTo>
                    <a:pt x="1180" y="565"/>
                  </a:lnTo>
                  <a:lnTo>
                    <a:pt x="1205" y="552"/>
                  </a:lnTo>
                  <a:lnTo>
                    <a:pt x="1234" y="529"/>
                  </a:lnTo>
                  <a:lnTo>
                    <a:pt x="1260" y="516"/>
                  </a:lnTo>
                  <a:lnTo>
                    <a:pt x="1275" y="490"/>
                  </a:lnTo>
                  <a:lnTo>
                    <a:pt x="1298" y="462"/>
                  </a:lnTo>
                  <a:lnTo>
                    <a:pt x="1298" y="435"/>
                  </a:lnTo>
                  <a:lnTo>
                    <a:pt x="1304" y="410"/>
                  </a:lnTo>
                  <a:lnTo>
                    <a:pt x="1307" y="382"/>
                  </a:lnTo>
                  <a:lnTo>
                    <a:pt x="1296" y="355"/>
                  </a:lnTo>
                  <a:lnTo>
                    <a:pt x="1302" y="329"/>
                  </a:lnTo>
                  <a:lnTo>
                    <a:pt x="1281" y="304"/>
                  </a:lnTo>
                  <a:lnTo>
                    <a:pt x="1254" y="293"/>
                  </a:lnTo>
                  <a:lnTo>
                    <a:pt x="1242" y="267"/>
                  </a:lnTo>
                  <a:lnTo>
                    <a:pt x="1265" y="241"/>
                  </a:lnTo>
                  <a:lnTo>
                    <a:pt x="1278" y="216"/>
                  </a:lnTo>
                  <a:lnTo>
                    <a:pt x="1304" y="187"/>
                  </a:lnTo>
                  <a:lnTo>
                    <a:pt x="1293" y="161"/>
                  </a:lnTo>
                  <a:lnTo>
                    <a:pt x="1268" y="164"/>
                  </a:lnTo>
                  <a:lnTo>
                    <a:pt x="1242" y="190"/>
                  </a:lnTo>
                  <a:lnTo>
                    <a:pt x="1221" y="216"/>
                  </a:lnTo>
                  <a:lnTo>
                    <a:pt x="1196" y="241"/>
                  </a:lnTo>
                  <a:lnTo>
                    <a:pt x="1171" y="270"/>
                  </a:lnTo>
                  <a:lnTo>
                    <a:pt x="1157" y="296"/>
                  </a:lnTo>
                  <a:lnTo>
                    <a:pt x="1143" y="324"/>
                  </a:lnTo>
                  <a:lnTo>
                    <a:pt x="1136" y="350"/>
                  </a:lnTo>
                  <a:lnTo>
                    <a:pt x="1131" y="376"/>
                  </a:lnTo>
                  <a:lnTo>
                    <a:pt x="1131" y="405"/>
                  </a:lnTo>
                  <a:lnTo>
                    <a:pt x="1125" y="430"/>
                  </a:lnTo>
                  <a:lnTo>
                    <a:pt x="1110" y="456"/>
                  </a:lnTo>
                  <a:lnTo>
                    <a:pt x="1095" y="485"/>
                  </a:lnTo>
                  <a:lnTo>
                    <a:pt x="1084" y="511"/>
                  </a:lnTo>
                  <a:lnTo>
                    <a:pt x="1092" y="537"/>
                  </a:lnTo>
                  <a:lnTo>
                    <a:pt x="1086" y="565"/>
                  </a:lnTo>
                  <a:lnTo>
                    <a:pt x="1115" y="571"/>
                  </a:lnTo>
                  <a:lnTo>
                    <a:pt x="1120" y="596"/>
                  </a:lnTo>
                  <a:lnTo>
                    <a:pt x="1138" y="624"/>
                  </a:lnTo>
                  <a:lnTo>
                    <a:pt x="1154" y="651"/>
                  </a:lnTo>
                  <a:lnTo>
                    <a:pt x="1136" y="677"/>
                  </a:lnTo>
                  <a:lnTo>
                    <a:pt x="1131" y="702"/>
                  </a:lnTo>
                  <a:lnTo>
                    <a:pt x="1131" y="731"/>
                  </a:lnTo>
                  <a:lnTo>
                    <a:pt x="1141" y="757"/>
                  </a:lnTo>
                  <a:lnTo>
                    <a:pt x="1143" y="785"/>
                  </a:lnTo>
                  <a:lnTo>
                    <a:pt x="1169" y="806"/>
                  </a:lnTo>
                  <a:lnTo>
                    <a:pt x="1196" y="824"/>
                  </a:lnTo>
                  <a:lnTo>
                    <a:pt x="1187" y="850"/>
                  </a:lnTo>
                  <a:lnTo>
                    <a:pt x="1182" y="878"/>
                  </a:lnTo>
                  <a:lnTo>
                    <a:pt x="1190" y="905"/>
                  </a:lnTo>
                  <a:lnTo>
                    <a:pt x="1185" y="930"/>
                  </a:lnTo>
                  <a:close/>
                  <a:moveTo>
                    <a:pt x="1086" y="799"/>
                  </a:moveTo>
                  <a:lnTo>
                    <a:pt x="1086" y="824"/>
                  </a:lnTo>
                  <a:lnTo>
                    <a:pt x="1058" y="814"/>
                  </a:lnTo>
                  <a:lnTo>
                    <a:pt x="1086" y="799"/>
                  </a:lnTo>
                  <a:close/>
                  <a:moveTo>
                    <a:pt x="1097" y="668"/>
                  </a:moveTo>
                  <a:lnTo>
                    <a:pt x="1099" y="695"/>
                  </a:lnTo>
                  <a:lnTo>
                    <a:pt x="1071" y="707"/>
                  </a:lnTo>
                  <a:lnTo>
                    <a:pt x="1074" y="682"/>
                  </a:lnTo>
                  <a:lnTo>
                    <a:pt x="1097" y="668"/>
                  </a:lnTo>
                  <a:close/>
                  <a:moveTo>
                    <a:pt x="1063" y="630"/>
                  </a:moveTo>
                  <a:lnTo>
                    <a:pt x="1074" y="656"/>
                  </a:lnTo>
                  <a:lnTo>
                    <a:pt x="1048" y="656"/>
                  </a:lnTo>
                  <a:lnTo>
                    <a:pt x="1051" y="630"/>
                  </a:lnTo>
                  <a:lnTo>
                    <a:pt x="1063" y="630"/>
                  </a:lnTo>
                  <a:close/>
                  <a:moveTo>
                    <a:pt x="1343" y="120"/>
                  </a:moveTo>
                  <a:lnTo>
                    <a:pt x="1343" y="94"/>
                  </a:lnTo>
                  <a:lnTo>
                    <a:pt x="1355" y="120"/>
                  </a:lnTo>
                  <a:lnTo>
                    <a:pt x="1343" y="120"/>
                  </a:lnTo>
                  <a:close/>
                  <a:moveTo>
                    <a:pt x="1074" y="1414"/>
                  </a:moveTo>
                  <a:lnTo>
                    <a:pt x="1056" y="1440"/>
                  </a:lnTo>
                  <a:lnTo>
                    <a:pt x="1051" y="1412"/>
                  </a:lnTo>
                  <a:lnTo>
                    <a:pt x="1074" y="1414"/>
                  </a:lnTo>
                  <a:close/>
                  <a:moveTo>
                    <a:pt x="1143" y="1345"/>
                  </a:moveTo>
                  <a:lnTo>
                    <a:pt x="1169" y="1357"/>
                  </a:lnTo>
                  <a:lnTo>
                    <a:pt x="1143" y="1368"/>
                  </a:lnTo>
                  <a:lnTo>
                    <a:pt x="1115" y="1375"/>
                  </a:lnTo>
                  <a:lnTo>
                    <a:pt x="1120" y="1350"/>
                  </a:lnTo>
                  <a:lnTo>
                    <a:pt x="1143" y="1345"/>
                  </a:lnTo>
                  <a:close/>
                  <a:moveTo>
                    <a:pt x="1131" y="1039"/>
                  </a:moveTo>
                  <a:lnTo>
                    <a:pt x="1157" y="1060"/>
                  </a:lnTo>
                  <a:lnTo>
                    <a:pt x="1177" y="1085"/>
                  </a:lnTo>
                  <a:lnTo>
                    <a:pt x="1180" y="1112"/>
                  </a:lnTo>
                  <a:lnTo>
                    <a:pt x="1157" y="1140"/>
                  </a:lnTo>
                  <a:lnTo>
                    <a:pt x="1171" y="1168"/>
                  </a:lnTo>
                  <a:lnTo>
                    <a:pt x="1201" y="1177"/>
                  </a:lnTo>
                  <a:lnTo>
                    <a:pt x="1226" y="1177"/>
                  </a:lnTo>
                  <a:lnTo>
                    <a:pt x="1252" y="1200"/>
                  </a:lnTo>
                  <a:lnTo>
                    <a:pt x="1244" y="1225"/>
                  </a:lnTo>
                  <a:lnTo>
                    <a:pt x="1219" y="1239"/>
                  </a:lnTo>
                  <a:lnTo>
                    <a:pt x="1190" y="1233"/>
                  </a:lnTo>
                  <a:lnTo>
                    <a:pt x="1175" y="1207"/>
                  </a:lnTo>
                  <a:lnTo>
                    <a:pt x="1146" y="1205"/>
                  </a:lnTo>
                  <a:lnTo>
                    <a:pt x="1120" y="1216"/>
                  </a:lnTo>
                  <a:lnTo>
                    <a:pt x="1097" y="1186"/>
                  </a:lnTo>
                  <a:lnTo>
                    <a:pt x="1110" y="1161"/>
                  </a:lnTo>
                  <a:lnTo>
                    <a:pt x="1081" y="1145"/>
                  </a:lnTo>
                  <a:lnTo>
                    <a:pt x="1058" y="1119"/>
                  </a:lnTo>
                  <a:lnTo>
                    <a:pt x="1046" y="1091"/>
                  </a:lnTo>
                  <a:lnTo>
                    <a:pt x="1058" y="1065"/>
                  </a:lnTo>
                  <a:lnTo>
                    <a:pt x="1084" y="1055"/>
                  </a:lnTo>
                  <a:lnTo>
                    <a:pt x="1110" y="1057"/>
                  </a:lnTo>
                  <a:lnTo>
                    <a:pt x="1131" y="1039"/>
                  </a:lnTo>
                  <a:close/>
                  <a:moveTo>
                    <a:pt x="1027" y="1147"/>
                  </a:moveTo>
                  <a:lnTo>
                    <a:pt x="1046" y="1174"/>
                  </a:lnTo>
                  <a:lnTo>
                    <a:pt x="1051" y="1200"/>
                  </a:lnTo>
                  <a:lnTo>
                    <a:pt x="1025" y="1207"/>
                  </a:lnTo>
                  <a:lnTo>
                    <a:pt x="998" y="1202"/>
                  </a:lnTo>
                  <a:lnTo>
                    <a:pt x="1004" y="1177"/>
                  </a:lnTo>
                  <a:lnTo>
                    <a:pt x="1012" y="1150"/>
                  </a:lnTo>
                  <a:lnTo>
                    <a:pt x="1027" y="1147"/>
                  </a:lnTo>
                  <a:close/>
                  <a:moveTo>
                    <a:pt x="1030" y="1023"/>
                  </a:moveTo>
                  <a:lnTo>
                    <a:pt x="1032" y="1050"/>
                  </a:lnTo>
                  <a:lnTo>
                    <a:pt x="1035" y="1078"/>
                  </a:lnTo>
                  <a:lnTo>
                    <a:pt x="1032" y="1104"/>
                  </a:lnTo>
                  <a:lnTo>
                    <a:pt x="1007" y="1117"/>
                  </a:lnTo>
                  <a:lnTo>
                    <a:pt x="984" y="1091"/>
                  </a:lnTo>
                  <a:lnTo>
                    <a:pt x="980" y="1062"/>
                  </a:lnTo>
                  <a:lnTo>
                    <a:pt x="980" y="1036"/>
                  </a:lnTo>
                  <a:lnTo>
                    <a:pt x="1007" y="1023"/>
                  </a:lnTo>
                  <a:lnTo>
                    <a:pt x="1030" y="1023"/>
                  </a:lnTo>
                  <a:close/>
                  <a:moveTo>
                    <a:pt x="34" y="1515"/>
                  </a:moveTo>
                  <a:lnTo>
                    <a:pt x="19" y="1541"/>
                  </a:lnTo>
                  <a:lnTo>
                    <a:pt x="3" y="1567"/>
                  </a:lnTo>
                  <a:lnTo>
                    <a:pt x="0" y="1596"/>
                  </a:lnTo>
                  <a:lnTo>
                    <a:pt x="21" y="1622"/>
                  </a:lnTo>
                  <a:lnTo>
                    <a:pt x="47" y="1640"/>
                  </a:lnTo>
                  <a:lnTo>
                    <a:pt x="76" y="1640"/>
                  </a:lnTo>
                  <a:lnTo>
                    <a:pt x="102" y="1631"/>
                  </a:lnTo>
                  <a:lnTo>
                    <a:pt x="130" y="1624"/>
                  </a:lnTo>
                  <a:lnTo>
                    <a:pt x="155" y="1608"/>
                  </a:lnTo>
                  <a:lnTo>
                    <a:pt x="182" y="1598"/>
                  </a:lnTo>
                  <a:lnTo>
                    <a:pt x="208" y="1608"/>
                  </a:lnTo>
                  <a:lnTo>
                    <a:pt x="236" y="1617"/>
                  </a:lnTo>
                  <a:lnTo>
                    <a:pt x="261" y="1598"/>
                  </a:lnTo>
                  <a:lnTo>
                    <a:pt x="288" y="1593"/>
                  </a:lnTo>
                  <a:lnTo>
                    <a:pt x="342" y="1593"/>
                  </a:lnTo>
                  <a:lnTo>
                    <a:pt x="350" y="1567"/>
                  </a:lnTo>
                  <a:lnTo>
                    <a:pt x="339" y="1541"/>
                  </a:lnTo>
                  <a:lnTo>
                    <a:pt x="314" y="1562"/>
                  </a:lnTo>
                  <a:lnTo>
                    <a:pt x="306" y="1536"/>
                  </a:lnTo>
                  <a:lnTo>
                    <a:pt x="280" y="1525"/>
                  </a:lnTo>
                  <a:lnTo>
                    <a:pt x="272" y="1552"/>
                  </a:lnTo>
                  <a:lnTo>
                    <a:pt x="246" y="1549"/>
                  </a:lnTo>
                  <a:lnTo>
                    <a:pt x="221" y="1531"/>
                  </a:lnTo>
                  <a:lnTo>
                    <a:pt x="192" y="1525"/>
                  </a:lnTo>
                  <a:lnTo>
                    <a:pt x="164" y="1520"/>
                  </a:lnTo>
                  <a:lnTo>
                    <a:pt x="138" y="1513"/>
                  </a:lnTo>
                  <a:lnTo>
                    <a:pt x="109" y="1507"/>
                  </a:lnTo>
                  <a:lnTo>
                    <a:pt x="81" y="1507"/>
                  </a:lnTo>
                  <a:lnTo>
                    <a:pt x="55" y="1511"/>
                  </a:lnTo>
                  <a:lnTo>
                    <a:pt x="34" y="1515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3" name="Freeform 21"/>
            <p:cNvSpPr>
              <a:spLocks noEditPoints="1"/>
            </p:cNvSpPr>
            <p:nvPr/>
          </p:nvSpPr>
          <p:spPr bwMode="auto">
            <a:xfrm>
              <a:off x="3258443" y="3869527"/>
              <a:ext cx="763766" cy="423333"/>
            </a:xfrm>
            <a:custGeom>
              <a:avLst/>
              <a:gdLst>
                <a:gd name="T0" fmla="*/ 2147483647 w 1300"/>
                <a:gd name="T1" fmla="*/ 2147483647 h 721"/>
                <a:gd name="T2" fmla="*/ 2147483647 w 1300"/>
                <a:gd name="T3" fmla="*/ 2147483647 h 721"/>
                <a:gd name="T4" fmla="*/ 2147483647 w 1300"/>
                <a:gd name="T5" fmla="*/ 2147483647 h 721"/>
                <a:gd name="T6" fmla="*/ 2147483647 w 1300"/>
                <a:gd name="T7" fmla="*/ 2147483647 h 721"/>
                <a:gd name="T8" fmla="*/ 2147483647 w 1300"/>
                <a:gd name="T9" fmla="*/ 2147483647 h 721"/>
                <a:gd name="T10" fmla="*/ 2147483647 w 1300"/>
                <a:gd name="T11" fmla="*/ 2147483647 h 721"/>
                <a:gd name="T12" fmla="*/ 2147483647 w 1300"/>
                <a:gd name="T13" fmla="*/ 2147483647 h 721"/>
                <a:gd name="T14" fmla="*/ 2147483647 w 1300"/>
                <a:gd name="T15" fmla="*/ 2147483647 h 721"/>
                <a:gd name="T16" fmla="*/ 2147483647 w 1300"/>
                <a:gd name="T17" fmla="*/ 2147483647 h 721"/>
                <a:gd name="T18" fmla="*/ 2147483647 w 1300"/>
                <a:gd name="T19" fmla="*/ 2147483647 h 721"/>
                <a:gd name="T20" fmla="*/ 2147483647 w 1300"/>
                <a:gd name="T21" fmla="*/ 2147483647 h 721"/>
                <a:gd name="T22" fmla="*/ 2147483647 w 1300"/>
                <a:gd name="T23" fmla="*/ 2147483647 h 721"/>
                <a:gd name="T24" fmla="*/ 2147483647 w 1300"/>
                <a:gd name="T25" fmla="*/ 2147483647 h 721"/>
                <a:gd name="T26" fmla="*/ 2147483647 w 1300"/>
                <a:gd name="T27" fmla="*/ 2147483647 h 721"/>
                <a:gd name="T28" fmla="*/ 2147483647 w 1300"/>
                <a:gd name="T29" fmla="*/ 2147483647 h 721"/>
                <a:gd name="T30" fmla="*/ 2147483647 w 1300"/>
                <a:gd name="T31" fmla="*/ 2147483647 h 721"/>
                <a:gd name="T32" fmla="*/ 2147483647 w 1300"/>
                <a:gd name="T33" fmla="*/ 2147483647 h 721"/>
                <a:gd name="T34" fmla="*/ 2147483647 w 1300"/>
                <a:gd name="T35" fmla="*/ 2147483647 h 721"/>
                <a:gd name="T36" fmla="*/ 2147483647 w 1300"/>
                <a:gd name="T37" fmla="*/ 2147483647 h 721"/>
                <a:gd name="T38" fmla="*/ 2147483647 w 1300"/>
                <a:gd name="T39" fmla="*/ 2147483647 h 721"/>
                <a:gd name="T40" fmla="*/ 2147483647 w 1300"/>
                <a:gd name="T41" fmla="*/ 2147483647 h 721"/>
                <a:gd name="T42" fmla="*/ 2147483647 w 1300"/>
                <a:gd name="T43" fmla="*/ 2147483647 h 721"/>
                <a:gd name="T44" fmla="*/ 2147483647 w 1300"/>
                <a:gd name="T45" fmla="*/ 2147483647 h 721"/>
                <a:gd name="T46" fmla="*/ 2147483647 w 1300"/>
                <a:gd name="T47" fmla="*/ 2147483647 h 721"/>
                <a:gd name="T48" fmla="*/ 2147483647 w 1300"/>
                <a:gd name="T49" fmla="*/ 2147483647 h 721"/>
                <a:gd name="T50" fmla="*/ 2147483647 w 1300"/>
                <a:gd name="T51" fmla="*/ 2147483647 h 721"/>
                <a:gd name="T52" fmla="*/ 2147483647 w 1300"/>
                <a:gd name="T53" fmla="*/ 2147483647 h 721"/>
                <a:gd name="T54" fmla="*/ 2147483647 w 1300"/>
                <a:gd name="T55" fmla="*/ 2147483647 h 721"/>
                <a:gd name="T56" fmla="*/ 2147483647 w 1300"/>
                <a:gd name="T57" fmla="*/ 2147483647 h 721"/>
                <a:gd name="T58" fmla="*/ 0 w 1300"/>
                <a:gd name="T59" fmla="*/ 2147483647 h 721"/>
                <a:gd name="T60" fmla="*/ 2147483647 w 1300"/>
                <a:gd name="T61" fmla="*/ 2147483647 h 721"/>
                <a:gd name="T62" fmla="*/ 2147483647 w 1300"/>
                <a:gd name="T63" fmla="*/ 2147483647 h 721"/>
                <a:gd name="T64" fmla="*/ 2147483647 w 1300"/>
                <a:gd name="T65" fmla="*/ 2147483647 h 721"/>
                <a:gd name="T66" fmla="*/ 2147483647 w 1300"/>
                <a:gd name="T67" fmla="*/ 2147483647 h 721"/>
                <a:gd name="T68" fmla="*/ 2147483647 w 1300"/>
                <a:gd name="T69" fmla="*/ 2147483647 h 721"/>
                <a:gd name="T70" fmla="*/ 2147483647 w 1300"/>
                <a:gd name="T71" fmla="*/ 2147483647 h 721"/>
                <a:gd name="T72" fmla="*/ 2147483647 w 1300"/>
                <a:gd name="T73" fmla="*/ 2147483647 h 721"/>
                <a:gd name="T74" fmla="*/ 2147483647 w 1300"/>
                <a:gd name="T75" fmla="*/ 2147483647 h 721"/>
                <a:gd name="T76" fmla="*/ 2147483647 w 1300"/>
                <a:gd name="T77" fmla="*/ 2147483647 h 721"/>
                <a:gd name="T78" fmla="*/ 2147483647 w 1300"/>
                <a:gd name="T79" fmla="*/ 2147483647 h 721"/>
                <a:gd name="T80" fmla="*/ 2147483647 w 1300"/>
                <a:gd name="T81" fmla="*/ 2147483647 h 721"/>
                <a:gd name="T82" fmla="*/ 2147483647 w 1300"/>
                <a:gd name="T83" fmla="*/ 2147483647 h 721"/>
                <a:gd name="T84" fmla="*/ 2147483647 w 1300"/>
                <a:gd name="T85" fmla="*/ 2147483647 h 721"/>
                <a:gd name="T86" fmla="*/ 2147483647 w 1300"/>
                <a:gd name="T87" fmla="*/ 2147483647 h 721"/>
                <a:gd name="T88" fmla="*/ 2147483647 w 1300"/>
                <a:gd name="T89" fmla="*/ 2147483647 h 721"/>
                <a:gd name="T90" fmla="*/ 2147483647 w 1300"/>
                <a:gd name="T91" fmla="*/ 2147483647 h 721"/>
                <a:gd name="T92" fmla="*/ 2147483647 w 1300"/>
                <a:gd name="T93" fmla="*/ 2147483647 h 721"/>
                <a:gd name="T94" fmla="*/ 2147483647 w 1300"/>
                <a:gd name="T95" fmla="*/ 2147483647 h 721"/>
                <a:gd name="T96" fmla="*/ 2147483647 w 1300"/>
                <a:gd name="T97" fmla="*/ 2147483647 h 721"/>
                <a:gd name="T98" fmla="*/ 2147483647 w 1300"/>
                <a:gd name="T99" fmla="*/ 2147483647 h 721"/>
                <a:gd name="T100" fmla="*/ 2147483647 w 1300"/>
                <a:gd name="T101" fmla="*/ 2147483647 h 721"/>
                <a:gd name="T102" fmla="*/ 2147483647 w 1300"/>
                <a:gd name="T103" fmla="*/ 2147483647 h 721"/>
                <a:gd name="T104" fmla="*/ 2147483647 w 1300"/>
                <a:gd name="T105" fmla="*/ 2147483647 h 721"/>
                <a:gd name="T106" fmla="*/ 2147483647 w 1300"/>
                <a:gd name="T107" fmla="*/ 2147483647 h 721"/>
                <a:gd name="T108" fmla="*/ 2147483647 w 1300"/>
                <a:gd name="T109" fmla="*/ 2147483647 h 721"/>
                <a:gd name="T110" fmla="*/ 2147483647 w 1300"/>
                <a:gd name="T111" fmla="*/ 2147483647 h 7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300" h="721">
                  <a:moveTo>
                    <a:pt x="269" y="0"/>
                  </a:moveTo>
                  <a:lnTo>
                    <a:pt x="274" y="4"/>
                  </a:lnTo>
                  <a:lnTo>
                    <a:pt x="300" y="15"/>
                  </a:lnTo>
                  <a:lnTo>
                    <a:pt x="328" y="22"/>
                  </a:lnTo>
                  <a:lnTo>
                    <a:pt x="355" y="11"/>
                  </a:lnTo>
                  <a:lnTo>
                    <a:pt x="380" y="22"/>
                  </a:lnTo>
                  <a:lnTo>
                    <a:pt x="401" y="50"/>
                  </a:lnTo>
                  <a:lnTo>
                    <a:pt x="427" y="56"/>
                  </a:lnTo>
                  <a:lnTo>
                    <a:pt x="455" y="54"/>
                  </a:lnTo>
                  <a:lnTo>
                    <a:pt x="481" y="48"/>
                  </a:lnTo>
                  <a:lnTo>
                    <a:pt x="507" y="43"/>
                  </a:lnTo>
                  <a:lnTo>
                    <a:pt x="535" y="43"/>
                  </a:lnTo>
                  <a:lnTo>
                    <a:pt x="561" y="59"/>
                  </a:lnTo>
                  <a:lnTo>
                    <a:pt x="590" y="50"/>
                  </a:lnTo>
                  <a:lnTo>
                    <a:pt x="582" y="77"/>
                  </a:lnTo>
                  <a:lnTo>
                    <a:pt x="595" y="105"/>
                  </a:lnTo>
                  <a:lnTo>
                    <a:pt x="592" y="121"/>
                  </a:lnTo>
                  <a:lnTo>
                    <a:pt x="616" y="147"/>
                  </a:lnTo>
                  <a:lnTo>
                    <a:pt x="611" y="172"/>
                  </a:lnTo>
                  <a:lnTo>
                    <a:pt x="636" y="162"/>
                  </a:lnTo>
                  <a:lnTo>
                    <a:pt x="662" y="175"/>
                  </a:lnTo>
                  <a:lnTo>
                    <a:pt x="667" y="201"/>
                  </a:lnTo>
                  <a:lnTo>
                    <a:pt x="664" y="229"/>
                  </a:lnTo>
                  <a:lnTo>
                    <a:pt x="646" y="255"/>
                  </a:lnTo>
                  <a:lnTo>
                    <a:pt x="646" y="281"/>
                  </a:lnTo>
                  <a:lnTo>
                    <a:pt x="675" y="299"/>
                  </a:lnTo>
                  <a:lnTo>
                    <a:pt x="701" y="310"/>
                  </a:lnTo>
                  <a:lnTo>
                    <a:pt x="726" y="320"/>
                  </a:lnTo>
                  <a:lnTo>
                    <a:pt x="756" y="328"/>
                  </a:lnTo>
                  <a:lnTo>
                    <a:pt x="781" y="349"/>
                  </a:lnTo>
                  <a:lnTo>
                    <a:pt x="807" y="351"/>
                  </a:lnTo>
                  <a:lnTo>
                    <a:pt x="835" y="370"/>
                  </a:lnTo>
                  <a:lnTo>
                    <a:pt x="864" y="356"/>
                  </a:lnTo>
                  <a:lnTo>
                    <a:pt x="890" y="349"/>
                  </a:lnTo>
                  <a:lnTo>
                    <a:pt x="915" y="338"/>
                  </a:lnTo>
                  <a:lnTo>
                    <a:pt x="941" y="340"/>
                  </a:lnTo>
                  <a:lnTo>
                    <a:pt x="970" y="343"/>
                  </a:lnTo>
                  <a:lnTo>
                    <a:pt x="998" y="345"/>
                  </a:lnTo>
                  <a:lnTo>
                    <a:pt x="1024" y="333"/>
                  </a:lnTo>
                  <a:lnTo>
                    <a:pt x="1053" y="333"/>
                  </a:lnTo>
                  <a:lnTo>
                    <a:pt x="1081" y="312"/>
                  </a:lnTo>
                  <a:lnTo>
                    <a:pt x="1107" y="312"/>
                  </a:lnTo>
                  <a:lnTo>
                    <a:pt x="1136" y="338"/>
                  </a:lnTo>
                  <a:lnTo>
                    <a:pt x="1161" y="340"/>
                  </a:lnTo>
                  <a:lnTo>
                    <a:pt x="1187" y="351"/>
                  </a:lnTo>
                  <a:lnTo>
                    <a:pt x="1215" y="356"/>
                  </a:lnTo>
                  <a:lnTo>
                    <a:pt x="1242" y="372"/>
                  </a:lnTo>
                  <a:lnTo>
                    <a:pt x="1249" y="398"/>
                  </a:lnTo>
                  <a:lnTo>
                    <a:pt x="1238" y="423"/>
                  </a:lnTo>
                  <a:lnTo>
                    <a:pt x="1238" y="452"/>
                  </a:lnTo>
                  <a:lnTo>
                    <a:pt x="1233" y="478"/>
                  </a:lnTo>
                  <a:lnTo>
                    <a:pt x="1231" y="481"/>
                  </a:lnTo>
                  <a:lnTo>
                    <a:pt x="1226" y="506"/>
                  </a:lnTo>
                  <a:lnTo>
                    <a:pt x="1221" y="534"/>
                  </a:lnTo>
                  <a:lnTo>
                    <a:pt x="1213" y="561"/>
                  </a:lnTo>
                  <a:lnTo>
                    <a:pt x="1210" y="587"/>
                  </a:lnTo>
                  <a:lnTo>
                    <a:pt x="1231" y="615"/>
                  </a:lnTo>
                  <a:lnTo>
                    <a:pt x="1231" y="641"/>
                  </a:lnTo>
                  <a:lnTo>
                    <a:pt x="1247" y="667"/>
                  </a:lnTo>
                  <a:lnTo>
                    <a:pt x="1275" y="677"/>
                  </a:lnTo>
                  <a:lnTo>
                    <a:pt x="1300" y="695"/>
                  </a:lnTo>
                  <a:lnTo>
                    <a:pt x="1286" y="721"/>
                  </a:lnTo>
                  <a:lnTo>
                    <a:pt x="1270" y="721"/>
                  </a:lnTo>
                  <a:lnTo>
                    <a:pt x="1247" y="711"/>
                  </a:lnTo>
                  <a:lnTo>
                    <a:pt x="1213" y="711"/>
                  </a:lnTo>
                  <a:lnTo>
                    <a:pt x="1219" y="698"/>
                  </a:lnTo>
                  <a:lnTo>
                    <a:pt x="1210" y="672"/>
                  </a:lnTo>
                  <a:lnTo>
                    <a:pt x="1182" y="662"/>
                  </a:lnTo>
                  <a:lnTo>
                    <a:pt x="1156" y="674"/>
                  </a:lnTo>
                  <a:lnTo>
                    <a:pt x="1130" y="667"/>
                  </a:lnTo>
                  <a:lnTo>
                    <a:pt x="1102" y="670"/>
                  </a:lnTo>
                  <a:lnTo>
                    <a:pt x="1076" y="667"/>
                  </a:lnTo>
                  <a:lnTo>
                    <a:pt x="1047" y="649"/>
                  </a:lnTo>
                  <a:lnTo>
                    <a:pt x="1021" y="638"/>
                  </a:lnTo>
                  <a:lnTo>
                    <a:pt x="996" y="633"/>
                  </a:lnTo>
                  <a:lnTo>
                    <a:pt x="970" y="623"/>
                  </a:lnTo>
                  <a:lnTo>
                    <a:pt x="941" y="602"/>
                  </a:lnTo>
                  <a:lnTo>
                    <a:pt x="913" y="596"/>
                  </a:lnTo>
                  <a:lnTo>
                    <a:pt x="887" y="579"/>
                  </a:lnTo>
                  <a:lnTo>
                    <a:pt x="862" y="568"/>
                  </a:lnTo>
                  <a:lnTo>
                    <a:pt x="835" y="550"/>
                  </a:lnTo>
                  <a:lnTo>
                    <a:pt x="807" y="543"/>
                  </a:lnTo>
                  <a:lnTo>
                    <a:pt x="781" y="545"/>
                  </a:lnTo>
                  <a:lnTo>
                    <a:pt x="752" y="550"/>
                  </a:lnTo>
                  <a:lnTo>
                    <a:pt x="726" y="559"/>
                  </a:lnTo>
                  <a:lnTo>
                    <a:pt x="703" y="584"/>
                  </a:lnTo>
                  <a:lnTo>
                    <a:pt x="675" y="579"/>
                  </a:lnTo>
                  <a:lnTo>
                    <a:pt x="650" y="584"/>
                  </a:lnTo>
                  <a:lnTo>
                    <a:pt x="623" y="596"/>
                  </a:lnTo>
                  <a:lnTo>
                    <a:pt x="597" y="596"/>
                  </a:lnTo>
                  <a:lnTo>
                    <a:pt x="572" y="587"/>
                  </a:lnTo>
                  <a:lnTo>
                    <a:pt x="544" y="584"/>
                  </a:lnTo>
                  <a:lnTo>
                    <a:pt x="517" y="576"/>
                  </a:lnTo>
                  <a:lnTo>
                    <a:pt x="491" y="563"/>
                  </a:lnTo>
                  <a:lnTo>
                    <a:pt x="463" y="568"/>
                  </a:lnTo>
                  <a:lnTo>
                    <a:pt x="438" y="555"/>
                  </a:lnTo>
                  <a:lnTo>
                    <a:pt x="411" y="555"/>
                  </a:lnTo>
                  <a:lnTo>
                    <a:pt x="383" y="550"/>
                  </a:lnTo>
                  <a:lnTo>
                    <a:pt x="357" y="553"/>
                  </a:lnTo>
                  <a:lnTo>
                    <a:pt x="332" y="540"/>
                  </a:lnTo>
                  <a:lnTo>
                    <a:pt x="302" y="534"/>
                  </a:lnTo>
                  <a:lnTo>
                    <a:pt x="277" y="550"/>
                  </a:lnTo>
                  <a:lnTo>
                    <a:pt x="274" y="576"/>
                  </a:lnTo>
                  <a:lnTo>
                    <a:pt x="249" y="561"/>
                  </a:lnTo>
                  <a:lnTo>
                    <a:pt x="220" y="553"/>
                  </a:lnTo>
                  <a:lnTo>
                    <a:pt x="194" y="555"/>
                  </a:lnTo>
                  <a:lnTo>
                    <a:pt x="166" y="543"/>
                  </a:lnTo>
                  <a:lnTo>
                    <a:pt x="139" y="534"/>
                  </a:lnTo>
                  <a:lnTo>
                    <a:pt x="111" y="538"/>
                  </a:lnTo>
                  <a:lnTo>
                    <a:pt x="86" y="545"/>
                  </a:lnTo>
                  <a:lnTo>
                    <a:pt x="57" y="520"/>
                  </a:lnTo>
                  <a:lnTo>
                    <a:pt x="31" y="534"/>
                  </a:lnTo>
                  <a:lnTo>
                    <a:pt x="5" y="524"/>
                  </a:lnTo>
                  <a:lnTo>
                    <a:pt x="9" y="526"/>
                  </a:lnTo>
                  <a:lnTo>
                    <a:pt x="9" y="524"/>
                  </a:lnTo>
                  <a:lnTo>
                    <a:pt x="9" y="523"/>
                  </a:lnTo>
                  <a:lnTo>
                    <a:pt x="7" y="522"/>
                  </a:lnTo>
                  <a:lnTo>
                    <a:pt x="3" y="518"/>
                  </a:lnTo>
                  <a:lnTo>
                    <a:pt x="2" y="515"/>
                  </a:lnTo>
                  <a:lnTo>
                    <a:pt x="0" y="507"/>
                  </a:lnTo>
                  <a:lnTo>
                    <a:pt x="0" y="503"/>
                  </a:lnTo>
                  <a:lnTo>
                    <a:pt x="2" y="499"/>
                  </a:lnTo>
                  <a:lnTo>
                    <a:pt x="5" y="494"/>
                  </a:lnTo>
                  <a:lnTo>
                    <a:pt x="11" y="490"/>
                  </a:lnTo>
                  <a:lnTo>
                    <a:pt x="31" y="480"/>
                  </a:lnTo>
                  <a:lnTo>
                    <a:pt x="57" y="465"/>
                  </a:lnTo>
                  <a:lnTo>
                    <a:pt x="78" y="454"/>
                  </a:lnTo>
                  <a:lnTo>
                    <a:pt x="87" y="448"/>
                  </a:lnTo>
                  <a:lnTo>
                    <a:pt x="93" y="443"/>
                  </a:lnTo>
                  <a:lnTo>
                    <a:pt x="105" y="427"/>
                  </a:lnTo>
                  <a:lnTo>
                    <a:pt x="108" y="422"/>
                  </a:lnTo>
                  <a:lnTo>
                    <a:pt x="110" y="417"/>
                  </a:lnTo>
                  <a:lnTo>
                    <a:pt x="112" y="412"/>
                  </a:lnTo>
                  <a:lnTo>
                    <a:pt x="112" y="405"/>
                  </a:lnTo>
                  <a:lnTo>
                    <a:pt x="113" y="400"/>
                  </a:lnTo>
                  <a:lnTo>
                    <a:pt x="112" y="394"/>
                  </a:lnTo>
                  <a:lnTo>
                    <a:pt x="110" y="387"/>
                  </a:lnTo>
                  <a:lnTo>
                    <a:pt x="106" y="382"/>
                  </a:lnTo>
                  <a:lnTo>
                    <a:pt x="100" y="374"/>
                  </a:lnTo>
                  <a:lnTo>
                    <a:pt x="95" y="371"/>
                  </a:lnTo>
                  <a:lnTo>
                    <a:pt x="93" y="371"/>
                  </a:lnTo>
                  <a:lnTo>
                    <a:pt x="92" y="372"/>
                  </a:lnTo>
                  <a:lnTo>
                    <a:pt x="92" y="370"/>
                  </a:lnTo>
                  <a:lnTo>
                    <a:pt x="92" y="364"/>
                  </a:lnTo>
                  <a:lnTo>
                    <a:pt x="92" y="351"/>
                  </a:lnTo>
                  <a:lnTo>
                    <a:pt x="90" y="328"/>
                  </a:lnTo>
                  <a:lnTo>
                    <a:pt x="87" y="280"/>
                  </a:lnTo>
                  <a:lnTo>
                    <a:pt x="85" y="252"/>
                  </a:lnTo>
                  <a:lnTo>
                    <a:pt x="84" y="237"/>
                  </a:lnTo>
                  <a:lnTo>
                    <a:pt x="84" y="233"/>
                  </a:lnTo>
                  <a:lnTo>
                    <a:pt x="84" y="231"/>
                  </a:lnTo>
                  <a:lnTo>
                    <a:pt x="85" y="227"/>
                  </a:lnTo>
                  <a:lnTo>
                    <a:pt x="87" y="220"/>
                  </a:lnTo>
                  <a:lnTo>
                    <a:pt x="91" y="213"/>
                  </a:lnTo>
                  <a:lnTo>
                    <a:pt x="94" y="210"/>
                  </a:lnTo>
                  <a:lnTo>
                    <a:pt x="98" y="208"/>
                  </a:lnTo>
                  <a:lnTo>
                    <a:pt x="101" y="205"/>
                  </a:lnTo>
                  <a:lnTo>
                    <a:pt x="106" y="203"/>
                  </a:lnTo>
                  <a:lnTo>
                    <a:pt x="111" y="202"/>
                  </a:lnTo>
                  <a:lnTo>
                    <a:pt x="116" y="202"/>
                  </a:lnTo>
                  <a:lnTo>
                    <a:pt x="124" y="203"/>
                  </a:lnTo>
                  <a:lnTo>
                    <a:pt x="132" y="204"/>
                  </a:lnTo>
                  <a:lnTo>
                    <a:pt x="146" y="208"/>
                  </a:lnTo>
                  <a:lnTo>
                    <a:pt x="156" y="211"/>
                  </a:lnTo>
                  <a:lnTo>
                    <a:pt x="165" y="213"/>
                  </a:lnTo>
                  <a:lnTo>
                    <a:pt x="170" y="213"/>
                  </a:lnTo>
                  <a:lnTo>
                    <a:pt x="175" y="212"/>
                  </a:lnTo>
                  <a:lnTo>
                    <a:pt x="179" y="209"/>
                  </a:lnTo>
                  <a:lnTo>
                    <a:pt x="185" y="203"/>
                  </a:lnTo>
                  <a:lnTo>
                    <a:pt x="192" y="194"/>
                  </a:lnTo>
                  <a:lnTo>
                    <a:pt x="207" y="180"/>
                  </a:lnTo>
                  <a:lnTo>
                    <a:pt x="216" y="168"/>
                  </a:lnTo>
                  <a:lnTo>
                    <a:pt x="220" y="160"/>
                  </a:lnTo>
                  <a:lnTo>
                    <a:pt x="223" y="148"/>
                  </a:lnTo>
                  <a:lnTo>
                    <a:pt x="226" y="132"/>
                  </a:lnTo>
                  <a:lnTo>
                    <a:pt x="227" y="112"/>
                  </a:lnTo>
                  <a:lnTo>
                    <a:pt x="228" y="101"/>
                  </a:lnTo>
                  <a:lnTo>
                    <a:pt x="230" y="89"/>
                  </a:lnTo>
                  <a:lnTo>
                    <a:pt x="232" y="79"/>
                  </a:lnTo>
                  <a:lnTo>
                    <a:pt x="234" y="68"/>
                  </a:lnTo>
                  <a:lnTo>
                    <a:pt x="241" y="50"/>
                  </a:lnTo>
                  <a:lnTo>
                    <a:pt x="248" y="35"/>
                  </a:lnTo>
                  <a:lnTo>
                    <a:pt x="261" y="13"/>
                  </a:lnTo>
                  <a:lnTo>
                    <a:pt x="267" y="4"/>
                  </a:lnTo>
                  <a:lnTo>
                    <a:pt x="268" y="2"/>
                  </a:lnTo>
                  <a:lnTo>
                    <a:pt x="269" y="0"/>
                  </a:lnTo>
                  <a:close/>
                  <a:moveTo>
                    <a:pt x="708" y="50"/>
                  </a:moveTo>
                  <a:lnTo>
                    <a:pt x="683" y="54"/>
                  </a:lnTo>
                  <a:lnTo>
                    <a:pt x="657" y="79"/>
                  </a:lnTo>
                  <a:lnTo>
                    <a:pt x="631" y="98"/>
                  </a:lnTo>
                  <a:lnTo>
                    <a:pt x="631" y="126"/>
                  </a:lnTo>
                  <a:lnTo>
                    <a:pt x="657" y="147"/>
                  </a:lnTo>
                  <a:lnTo>
                    <a:pt x="685" y="149"/>
                  </a:lnTo>
                  <a:lnTo>
                    <a:pt x="712" y="156"/>
                  </a:lnTo>
                  <a:lnTo>
                    <a:pt x="740" y="162"/>
                  </a:lnTo>
                  <a:lnTo>
                    <a:pt x="765" y="170"/>
                  </a:lnTo>
                  <a:lnTo>
                    <a:pt x="768" y="142"/>
                  </a:lnTo>
                  <a:lnTo>
                    <a:pt x="794" y="167"/>
                  </a:lnTo>
                  <a:lnTo>
                    <a:pt x="820" y="165"/>
                  </a:lnTo>
                  <a:lnTo>
                    <a:pt x="848" y="167"/>
                  </a:lnTo>
                  <a:lnTo>
                    <a:pt x="874" y="170"/>
                  </a:lnTo>
                  <a:lnTo>
                    <a:pt x="900" y="167"/>
                  </a:lnTo>
                  <a:lnTo>
                    <a:pt x="926" y="167"/>
                  </a:lnTo>
                  <a:lnTo>
                    <a:pt x="941" y="142"/>
                  </a:lnTo>
                  <a:lnTo>
                    <a:pt x="968" y="128"/>
                  </a:lnTo>
                  <a:lnTo>
                    <a:pt x="996" y="128"/>
                  </a:lnTo>
                  <a:lnTo>
                    <a:pt x="1021" y="131"/>
                  </a:lnTo>
                  <a:lnTo>
                    <a:pt x="1042" y="105"/>
                  </a:lnTo>
                  <a:lnTo>
                    <a:pt x="1071" y="100"/>
                  </a:lnTo>
                  <a:lnTo>
                    <a:pt x="1097" y="89"/>
                  </a:lnTo>
                  <a:lnTo>
                    <a:pt x="1125" y="79"/>
                  </a:lnTo>
                  <a:lnTo>
                    <a:pt x="1097" y="56"/>
                  </a:lnTo>
                  <a:lnTo>
                    <a:pt x="1068" y="41"/>
                  </a:lnTo>
                  <a:lnTo>
                    <a:pt x="1042" y="41"/>
                  </a:lnTo>
                  <a:lnTo>
                    <a:pt x="1014" y="48"/>
                  </a:lnTo>
                  <a:lnTo>
                    <a:pt x="988" y="45"/>
                  </a:lnTo>
                  <a:lnTo>
                    <a:pt x="959" y="48"/>
                  </a:lnTo>
                  <a:lnTo>
                    <a:pt x="931" y="50"/>
                  </a:lnTo>
                  <a:lnTo>
                    <a:pt x="905" y="50"/>
                  </a:lnTo>
                  <a:lnTo>
                    <a:pt x="879" y="48"/>
                  </a:lnTo>
                  <a:lnTo>
                    <a:pt x="825" y="48"/>
                  </a:lnTo>
                  <a:lnTo>
                    <a:pt x="799" y="50"/>
                  </a:lnTo>
                  <a:lnTo>
                    <a:pt x="770" y="48"/>
                  </a:lnTo>
                  <a:lnTo>
                    <a:pt x="745" y="45"/>
                  </a:lnTo>
                  <a:lnTo>
                    <a:pt x="717" y="48"/>
                  </a:lnTo>
                  <a:lnTo>
                    <a:pt x="708" y="5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4" name="Freeform 22"/>
            <p:cNvSpPr>
              <a:spLocks/>
            </p:cNvSpPr>
            <p:nvPr/>
          </p:nvSpPr>
          <p:spPr bwMode="auto">
            <a:xfrm>
              <a:off x="4934143" y="4157041"/>
              <a:ext cx="22931" cy="29987"/>
            </a:xfrm>
            <a:custGeom>
              <a:avLst/>
              <a:gdLst>
                <a:gd name="T0" fmla="*/ 2147483647 w 39"/>
                <a:gd name="T1" fmla="*/ 0 h 50"/>
                <a:gd name="T2" fmla="*/ 2147483647 w 39"/>
                <a:gd name="T3" fmla="*/ 2147483647 h 50"/>
                <a:gd name="T4" fmla="*/ 2147483647 w 39"/>
                <a:gd name="T5" fmla="*/ 2147483647 h 50"/>
                <a:gd name="T6" fmla="*/ 0 w 39"/>
                <a:gd name="T7" fmla="*/ 2147483647 h 50"/>
                <a:gd name="T8" fmla="*/ 2147483647 w 39"/>
                <a:gd name="T9" fmla="*/ 0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50">
                  <a:moveTo>
                    <a:pt x="24" y="0"/>
                  </a:moveTo>
                  <a:lnTo>
                    <a:pt x="39" y="30"/>
                  </a:lnTo>
                  <a:lnTo>
                    <a:pt x="13" y="50"/>
                  </a:lnTo>
                  <a:lnTo>
                    <a:pt x="0" y="21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5" name="Freeform 23"/>
            <p:cNvSpPr>
              <a:spLocks/>
            </p:cNvSpPr>
            <p:nvPr/>
          </p:nvSpPr>
          <p:spPr bwMode="auto">
            <a:xfrm>
              <a:off x="2759261" y="3797206"/>
              <a:ext cx="656168" cy="381001"/>
            </a:xfrm>
            <a:custGeom>
              <a:avLst/>
              <a:gdLst>
                <a:gd name="T0" fmla="*/ 2147483647 w 1118"/>
                <a:gd name="T1" fmla="*/ 2147483647 h 649"/>
                <a:gd name="T2" fmla="*/ 2147483647 w 1118"/>
                <a:gd name="T3" fmla="*/ 2147483647 h 649"/>
                <a:gd name="T4" fmla="*/ 2147483647 w 1118"/>
                <a:gd name="T5" fmla="*/ 2147483647 h 649"/>
                <a:gd name="T6" fmla="*/ 2147483647 w 1118"/>
                <a:gd name="T7" fmla="*/ 2147483647 h 649"/>
                <a:gd name="T8" fmla="*/ 2147483647 w 1118"/>
                <a:gd name="T9" fmla="*/ 2147483647 h 649"/>
                <a:gd name="T10" fmla="*/ 2147483647 w 1118"/>
                <a:gd name="T11" fmla="*/ 2147483647 h 649"/>
                <a:gd name="T12" fmla="*/ 2147483647 w 1118"/>
                <a:gd name="T13" fmla="*/ 2147483647 h 649"/>
                <a:gd name="T14" fmla="*/ 2147483647 w 1118"/>
                <a:gd name="T15" fmla="*/ 2147483647 h 649"/>
                <a:gd name="T16" fmla="*/ 2147483647 w 1118"/>
                <a:gd name="T17" fmla="*/ 2147483647 h 649"/>
                <a:gd name="T18" fmla="*/ 0 w 1118"/>
                <a:gd name="T19" fmla="*/ 2147483647 h 649"/>
                <a:gd name="T20" fmla="*/ 2147483647 w 1118"/>
                <a:gd name="T21" fmla="*/ 2147483647 h 649"/>
                <a:gd name="T22" fmla="*/ 2147483647 w 1118"/>
                <a:gd name="T23" fmla="*/ 2147483647 h 649"/>
                <a:gd name="T24" fmla="*/ 2147483647 w 1118"/>
                <a:gd name="T25" fmla="*/ 2147483647 h 649"/>
                <a:gd name="T26" fmla="*/ 2147483647 w 1118"/>
                <a:gd name="T27" fmla="*/ 2147483647 h 649"/>
                <a:gd name="T28" fmla="*/ 2147483647 w 1118"/>
                <a:gd name="T29" fmla="*/ 2147483647 h 649"/>
                <a:gd name="T30" fmla="*/ 2147483647 w 1118"/>
                <a:gd name="T31" fmla="*/ 2147483647 h 649"/>
                <a:gd name="T32" fmla="*/ 2147483647 w 1118"/>
                <a:gd name="T33" fmla="*/ 2147483647 h 649"/>
                <a:gd name="T34" fmla="*/ 2147483647 w 1118"/>
                <a:gd name="T35" fmla="*/ 2147483647 h 649"/>
                <a:gd name="T36" fmla="*/ 2147483647 w 1118"/>
                <a:gd name="T37" fmla="*/ 2147483647 h 649"/>
                <a:gd name="T38" fmla="*/ 2147483647 w 1118"/>
                <a:gd name="T39" fmla="*/ 2147483647 h 649"/>
                <a:gd name="T40" fmla="*/ 2147483647 w 1118"/>
                <a:gd name="T41" fmla="*/ 2147483647 h 649"/>
                <a:gd name="T42" fmla="*/ 2147483647 w 1118"/>
                <a:gd name="T43" fmla="*/ 2147483647 h 649"/>
                <a:gd name="T44" fmla="*/ 2147483647 w 1118"/>
                <a:gd name="T45" fmla="*/ 2147483647 h 649"/>
                <a:gd name="T46" fmla="*/ 2147483647 w 1118"/>
                <a:gd name="T47" fmla="*/ 0 h 649"/>
                <a:gd name="T48" fmla="*/ 2147483647 w 1118"/>
                <a:gd name="T49" fmla="*/ 2147483647 h 649"/>
                <a:gd name="T50" fmla="*/ 2147483647 w 1118"/>
                <a:gd name="T51" fmla="*/ 2147483647 h 649"/>
                <a:gd name="T52" fmla="*/ 2147483647 w 1118"/>
                <a:gd name="T53" fmla="*/ 2147483647 h 649"/>
                <a:gd name="T54" fmla="*/ 2147483647 w 1118"/>
                <a:gd name="T55" fmla="*/ 2147483647 h 649"/>
                <a:gd name="T56" fmla="*/ 2147483647 w 1118"/>
                <a:gd name="T57" fmla="*/ 2147483647 h 649"/>
                <a:gd name="T58" fmla="*/ 2147483647 w 1118"/>
                <a:gd name="T59" fmla="*/ 2147483647 h 649"/>
                <a:gd name="T60" fmla="*/ 2147483647 w 1118"/>
                <a:gd name="T61" fmla="*/ 2147483647 h 649"/>
                <a:gd name="T62" fmla="*/ 2147483647 w 1118"/>
                <a:gd name="T63" fmla="*/ 2147483647 h 649"/>
                <a:gd name="T64" fmla="*/ 2147483647 w 1118"/>
                <a:gd name="T65" fmla="*/ 2147483647 h 649"/>
                <a:gd name="T66" fmla="*/ 2147483647 w 1118"/>
                <a:gd name="T67" fmla="*/ 2147483647 h 649"/>
                <a:gd name="T68" fmla="*/ 2147483647 w 1118"/>
                <a:gd name="T69" fmla="*/ 2147483647 h 649"/>
                <a:gd name="T70" fmla="*/ 2147483647 w 1118"/>
                <a:gd name="T71" fmla="*/ 2147483647 h 649"/>
                <a:gd name="T72" fmla="*/ 2147483647 w 1118"/>
                <a:gd name="T73" fmla="*/ 2147483647 h 649"/>
                <a:gd name="T74" fmla="*/ 2147483647 w 1118"/>
                <a:gd name="T75" fmla="*/ 2147483647 h 649"/>
                <a:gd name="T76" fmla="*/ 2147483647 w 1118"/>
                <a:gd name="T77" fmla="*/ 2147483647 h 649"/>
                <a:gd name="T78" fmla="*/ 2147483647 w 1118"/>
                <a:gd name="T79" fmla="*/ 2147483647 h 649"/>
                <a:gd name="T80" fmla="*/ 2147483647 w 1118"/>
                <a:gd name="T81" fmla="*/ 2147483647 h 649"/>
                <a:gd name="T82" fmla="*/ 2147483647 w 1118"/>
                <a:gd name="T83" fmla="*/ 2147483647 h 649"/>
                <a:gd name="T84" fmla="*/ 2147483647 w 1118"/>
                <a:gd name="T85" fmla="*/ 2147483647 h 649"/>
                <a:gd name="T86" fmla="*/ 2147483647 w 1118"/>
                <a:gd name="T87" fmla="*/ 2147483647 h 649"/>
                <a:gd name="T88" fmla="*/ 2147483647 w 1118"/>
                <a:gd name="T89" fmla="*/ 2147483647 h 649"/>
                <a:gd name="T90" fmla="*/ 2147483647 w 1118"/>
                <a:gd name="T91" fmla="*/ 2147483647 h 649"/>
                <a:gd name="T92" fmla="*/ 2147483647 w 1118"/>
                <a:gd name="T93" fmla="*/ 2147483647 h 649"/>
                <a:gd name="T94" fmla="*/ 2147483647 w 1118"/>
                <a:gd name="T95" fmla="*/ 2147483647 h 649"/>
                <a:gd name="T96" fmla="*/ 2147483647 w 1118"/>
                <a:gd name="T97" fmla="*/ 2147483647 h 649"/>
                <a:gd name="T98" fmla="*/ 2147483647 w 1118"/>
                <a:gd name="T99" fmla="*/ 2147483647 h 649"/>
                <a:gd name="T100" fmla="*/ 2147483647 w 1118"/>
                <a:gd name="T101" fmla="*/ 2147483647 h 649"/>
                <a:gd name="T102" fmla="*/ 2147483647 w 1118"/>
                <a:gd name="T103" fmla="*/ 2147483647 h 649"/>
                <a:gd name="T104" fmla="*/ 2147483647 w 1118"/>
                <a:gd name="T105" fmla="*/ 2147483647 h 649"/>
                <a:gd name="T106" fmla="*/ 2147483647 w 1118"/>
                <a:gd name="T107" fmla="*/ 2147483647 h 649"/>
                <a:gd name="T108" fmla="*/ 2147483647 w 1118"/>
                <a:gd name="T109" fmla="*/ 2147483647 h 649"/>
                <a:gd name="T110" fmla="*/ 2147483647 w 1118"/>
                <a:gd name="T111" fmla="*/ 2147483647 h 649"/>
                <a:gd name="T112" fmla="*/ 2147483647 w 1118"/>
                <a:gd name="T113" fmla="*/ 2147483647 h 649"/>
                <a:gd name="T114" fmla="*/ 2147483647 w 1118"/>
                <a:gd name="T115" fmla="*/ 2147483647 h 64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18" h="649">
                  <a:moveTo>
                    <a:pt x="536" y="528"/>
                  </a:moveTo>
                  <a:lnTo>
                    <a:pt x="520" y="523"/>
                  </a:lnTo>
                  <a:lnTo>
                    <a:pt x="506" y="518"/>
                  </a:lnTo>
                  <a:lnTo>
                    <a:pt x="479" y="513"/>
                  </a:lnTo>
                  <a:lnTo>
                    <a:pt x="451" y="505"/>
                  </a:lnTo>
                  <a:lnTo>
                    <a:pt x="423" y="495"/>
                  </a:lnTo>
                  <a:lnTo>
                    <a:pt x="397" y="487"/>
                  </a:lnTo>
                  <a:lnTo>
                    <a:pt x="371" y="487"/>
                  </a:lnTo>
                  <a:lnTo>
                    <a:pt x="345" y="482"/>
                  </a:lnTo>
                  <a:lnTo>
                    <a:pt x="317" y="487"/>
                  </a:lnTo>
                  <a:lnTo>
                    <a:pt x="290" y="463"/>
                  </a:lnTo>
                  <a:lnTo>
                    <a:pt x="262" y="459"/>
                  </a:lnTo>
                  <a:lnTo>
                    <a:pt x="236" y="456"/>
                  </a:lnTo>
                  <a:lnTo>
                    <a:pt x="211" y="459"/>
                  </a:lnTo>
                  <a:lnTo>
                    <a:pt x="182" y="466"/>
                  </a:lnTo>
                  <a:lnTo>
                    <a:pt x="156" y="461"/>
                  </a:lnTo>
                  <a:lnTo>
                    <a:pt x="130" y="454"/>
                  </a:lnTo>
                  <a:lnTo>
                    <a:pt x="125" y="427"/>
                  </a:lnTo>
                  <a:lnTo>
                    <a:pt x="99" y="448"/>
                  </a:lnTo>
                  <a:lnTo>
                    <a:pt x="76" y="454"/>
                  </a:lnTo>
                  <a:lnTo>
                    <a:pt x="66" y="456"/>
                  </a:lnTo>
                  <a:lnTo>
                    <a:pt x="66" y="454"/>
                  </a:lnTo>
                  <a:lnTo>
                    <a:pt x="66" y="448"/>
                  </a:lnTo>
                  <a:lnTo>
                    <a:pt x="66" y="440"/>
                  </a:lnTo>
                  <a:lnTo>
                    <a:pt x="65" y="420"/>
                  </a:lnTo>
                  <a:lnTo>
                    <a:pt x="63" y="408"/>
                  </a:lnTo>
                  <a:lnTo>
                    <a:pt x="57" y="396"/>
                  </a:lnTo>
                  <a:lnTo>
                    <a:pt x="55" y="391"/>
                  </a:lnTo>
                  <a:lnTo>
                    <a:pt x="51" y="385"/>
                  </a:lnTo>
                  <a:lnTo>
                    <a:pt x="47" y="381"/>
                  </a:lnTo>
                  <a:lnTo>
                    <a:pt x="43" y="378"/>
                  </a:lnTo>
                  <a:lnTo>
                    <a:pt x="32" y="371"/>
                  </a:lnTo>
                  <a:lnTo>
                    <a:pt x="24" y="364"/>
                  </a:lnTo>
                  <a:lnTo>
                    <a:pt x="17" y="358"/>
                  </a:lnTo>
                  <a:lnTo>
                    <a:pt x="11" y="353"/>
                  </a:lnTo>
                  <a:lnTo>
                    <a:pt x="7" y="347"/>
                  </a:lnTo>
                  <a:lnTo>
                    <a:pt x="3" y="341"/>
                  </a:lnTo>
                  <a:lnTo>
                    <a:pt x="1" y="336"/>
                  </a:lnTo>
                  <a:lnTo>
                    <a:pt x="0" y="331"/>
                  </a:lnTo>
                  <a:lnTo>
                    <a:pt x="0" y="326"/>
                  </a:lnTo>
                  <a:lnTo>
                    <a:pt x="0" y="321"/>
                  </a:lnTo>
                  <a:lnTo>
                    <a:pt x="2" y="316"/>
                  </a:lnTo>
                  <a:lnTo>
                    <a:pt x="4" y="312"/>
                  </a:lnTo>
                  <a:lnTo>
                    <a:pt x="10" y="304"/>
                  </a:lnTo>
                  <a:lnTo>
                    <a:pt x="19" y="296"/>
                  </a:lnTo>
                  <a:lnTo>
                    <a:pt x="28" y="289"/>
                  </a:lnTo>
                  <a:lnTo>
                    <a:pt x="39" y="283"/>
                  </a:lnTo>
                  <a:lnTo>
                    <a:pt x="49" y="276"/>
                  </a:lnTo>
                  <a:lnTo>
                    <a:pt x="61" y="271"/>
                  </a:lnTo>
                  <a:lnTo>
                    <a:pt x="70" y="266"/>
                  </a:lnTo>
                  <a:lnTo>
                    <a:pt x="78" y="262"/>
                  </a:lnTo>
                  <a:lnTo>
                    <a:pt x="85" y="257"/>
                  </a:lnTo>
                  <a:lnTo>
                    <a:pt x="89" y="253"/>
                  </a:lnTo>
                  <a:lnTo>
                    <a:pt x="91" y="249"/>
                  </a:lnTo>
                  <a:lnTo>
                    <a:pt x="93" y="243"/>
                  </a:lnTo>
                  <a:lnTo>
                    <a:pt x="95" y="236"/>
                  </a:lnTo>
                  <a:lnTo>
                    <a:pt x="96" y="228"/>
                  </a:lnTo>
                  <a:lnTo>
                    <a:pt x="99" y="211"/>
                  </a:lnTo>
                  <a:lnTo>
                    <a:pt x="101" y="194"/>
                  </a:lnTo>
                  <a:lnTo>
                    <a:pt x="103" y="164"/>
                  </a:lnTo>
                  <a:lnTo>
                    <a:pt x="103" y="150"/>
                  </a:lnTo>
                  <a:lnTo>
                    <a:pt x="105" y="145"/>
                  </a:lnTo>
                  <a:lnTo>
                    <a:pt x="107" y="141"/>
                  </a:lnTo>
                  <a:lnTo>
                    <a:pt x="133" y="145"/>
                  </a:lnTo>
                  <a:lnTo>
                    <a:pt x="144" y="155"/>
                  </a:lnTo>
                  <a:lnTo>
                    <a:pt x="172" y="138"/>
                  </a:lnTo>
                  <a:lnTo>
                    <a:pt x="200" y="148"/>
                  </a:lnTo>
                  <a:lnTo>
                    <a:pt x="226" y="159"/>
                  </a:lnTo>
                  <a:lnTo>
                    <a:pt x="252" y="164"/>
                  </a:lnTo>
                  <a:lnTo>
                    <a:pt x="280" y="168"/>
                  </a:lnTo>
                  <a:lnTo>
                    <a:pt x="308" y="164"/>
                  </a:lnTo>
                  <a:lnTo>
                    <a:pt x="335" y="153"/>
                  </a:lnTo>
                  <a:lnTo>
                    <a:pt x="363" y="153"/>
                  </a:lnTo>
                  <a:lnTo>
                    <a:pt x="389" y="159"/>
                  </a:lnTo>
                  <a:lnTo>
                    <a:pt x="414" y="164"/>
                  </a:lnTo>
                  <a:lnTo>
                    <a:pt x="441" y="171"/>
                  </a:lnTo>
                  <a:lnTo>
                    <a:pt x="467" y="179"/>
                  </a:lnTo>
                  <a:lnTo>
                    <a:pt x="495" y="184"/>
                  </a:lnTo>
                  <a:lnTo>
                    <a:pt x="520" y="187"/>
                  </a:lnTo>
                  <a:lnTo>
                    <a:pt x="536" y="182"/>
                  </a:lnTo>
                  <a:lnTo>
                    <a:pt x="562" y="177"/>
                  </a:lnTo>
                  <a:lnTo>
                    <a:pt x="588" y="166"/>
                  </a:lnTo>
                  <a:lnTo>
                    <a:pt x="617" y="187"/>
                  </a:lnTo>
                  <a:lnTo>
                    <a:pt x="645" y="202"/>
                  </a:lnTo>
                  <a:lnTo>
                    <a:pt x="670" y="198"/>
                  </a:lnTo>
                  <a:lnTo>
                    <a:pt x="697" y="184"/>
                  </a:lnTo>
                  <a:lnTo>
                    <a:pt x="720" y="159"/>
                  </a:lnTo>
                  <a:lnTo>
                    <a:pt x="732" y="132"/>
                  </a:lnTo>
                  <a:lnTo>
                    <a:pt x="732" y="125"/>
                  </a:lnTo>
                  <a:lnTo>
                    <a:pt x="743" y="115"/>
                  </a:lnTo>
                  <a:lnTo>
                    <a:pt x="751" y="88"/>
                  </a:lnTo>
                  <a:lnTo>
                    <a:pt x="757" y="60"/>
                  </a:lnTo>
                  <a:lnTo>
                    <a:pt x="761" y="34"/>
                  </a:lnTo>
                  <a:lnTo>
                    <a:pt x="790" y="14"/>
                  </a:lnTo>
                  <a:lnTo>
                    <a:pt x="815" y="8"/>
                  </a:lnTo>
                  <a:lnTo>
                    <a:pt x="842" y="0"/>
                  </a:lnTo>
                  <a:lnTo>
                    <a:pt x="870" y="11"/>
                  </a:lnTo>
                  <a:lnTo>
                    <a:pt x="896" y="21"/>
                  </a:lnTo>
                  <a:lnTo>
                    <a:pt x="903" y="49"/>
                  </a:lnTo>
                  <a:lnTo>
                    <a:pt x="911" y="76"/>
                  </a:lnTo>
                  <a:lnTo>
                    <a:pt x="937" y="101"/>
                  </a:lnTo>
                  <a:lnTo>
                    <a:pt x="950" y="106"/>
                  </a:lnTo>
                  <a:lnTo>
                    <a:pt x="978" y="106"/>
                  </a:lnTo>
                  <a:lnTo>
                    <a:pt x="1004" y="109"/>
                  </a:lnTo>
                  <a:lnTo>
                    <a:pt x="1030" y="99"/>
                  </a:lnTo>
                  <a:lnTo>
                    <a:pt x="1059" y="86"/>
                  </a:lnTo>
                  <a:lnTo>
                    <a:pt x="1084" y="90"/>
                  </a:lnTo>
                  <a:lnTo>
                    <a:pt x="1110" y="117"/>
                  </a:lnTo>
                  <a:lnTo>
                    <a:pt x="1118" y="123"/>
                  </a:lnTo>
                  <a:lnTo>
                    <a:pt x="1117" y="125"/>
                  </a:lnTo>
                  <a:lnTo>
                    <a:pt x="1116" y="127"/>
                  </a:lnTo>
                  <a:lnTo>
                    <a:pt x="1110" y="136"/>
                  </a:lnTo>
                  <a:lnTo>
                    <a:pt x="1097" y="158"/>
                  </a:lnTo>
                  <a:lnTo>
                    <a:pt x="1090" y="173"/>
                  </a:lnTo>
                  <a:lnTo>
                    <a:pt x="1083" y="191"/>
                  </a:lnTo>
                  <a:lnTo>
                    <a:pt x="1081" y="202"/>
                  </a:lnTo>
                  <a:lnTo>
                    <a:pt x="1079" y="212"/>
                  </a:lnTo>
                  <a:lnTo>
                    <a:pt x="1077" y="224"/>
                  </a:lnTo>
                  <a:lnTo>
                    <a:pt x="1076" y="235"/>
                  </a:lnTo>
                  <a:lnTo>
                    <a:pt x="1075" y="255"/>
                  </a:lnTo>
                  <a:lnTo>
                    <a:pt x="1072" y="271"/>
                  </a:lnTo>
                  <a:lnTo>
                    <a:pt x="1069" y="283"/>
                  </a:lnTo>
                  <a:lnTo>
                    <a:pt x="1065" y="291"/>
                  </a:lnTo>
                  <a:lnTo>
                    <a:pt x="1056" y="303"/>
                  </a:lnTo>
                  <a:lnTo>
                    <a:pt x="1041" y="317"/>
                  </a:lnTo>
                  <a:lnTo>
                    <a:pt x="1034" y="326"/>
                  </a:lnTo>
                  <a:lnTo>
                    <a:pt x="1028" y="332"/>
                  </a:lnTo>
                  <a:lnTo>
                    <a:pt x="1024" y="335"/>
                  </a:lnTo>
                  <a:lnTo>
                    <a:pt x="1019" y="336"/>
                  </a:lnTo>
                  <a:lnTo>
                    <a:pt x="1014" y="336"/>
                  </a:lnTo>
                  <a:lnTo>
                    <a:pt x="1005" y="334"/>
                  </a:lnTo>
                  <a:lnTo>
                    <a:pt x="995" y="331"/>
                  </a:lnTo>
                  <a:lnTo>
                    <a:pt x="981" y="327"/>
                  </a:lnTo>
                  <a:lnTo>
                    <a:pt x="973" y="326"/>
                  </a:lnTo>
                  <a:lnTo>
                    <a:pt x="965" y="325"/>
                  </a:lnTo>
                  <a:lnTo>
                    <a:pt x="960" y="325"/>
                  </a:lnTo>
                  <a:lnTo>
                    <a:pt x="955" y="326"/>
                  </a:lnTo>
                  <a:lnTo>
                    <a:pt x="950" y="328"/>
                  </a:lnTo>
                  <a:lnTo>
                    <a:pt x="947" y="331"/>
                  </a:lnTo>
                  <a:lnTo>
                    <a:pt x="943" y="333"/>
                  </a:lnTo>
                  <a:lnTo>
                    <a:pt x="940" y="336"/>
                  </a:lnTo>
                  <a:lnTo>
                    <a:pt x="936" y="343"/>
                  </a:lnTo>
                  <a:lnTo>
                    <a:pt x="934" y="350"/>
                  </a:lnTo>
                  <a:lnTo>
                    <a:pt x="933" y="354"/>
                  </a:lnTo>
                  <a:lnTo>
                    <a:pt x="933" y="356"/>
                  </a:lnTo>
                  <a:lnTo>
                    <a:pt x="933" y="360"/>
                  </a:lnTo>
                  <a:lnTo>
                    <a:pt x="934" y="375"/>
                  </a:lnTo>
                  <a:lnTo>
                    <a:pt x="936" y="403"/>
                  </a:lnTo>
                  <a:lnTo>
                    <a:pt x="939" y="451"/>
                  </a:lnTo>
                  <a:lnTo>
                    <a:pt x="941" y="474"/>
                  </a:lnTo>
                  <a:lnTo>
                    <a:pt x="941" y="487"/>
                  </a:lnTo>
                  <a:lnTo>
                    <a:pt x="941" y="493"/>
                  </a:lnTo>
                  <a:lnTo>
                    <a:pt x="941" y="495"/>
                  </a:lnTo>
                  <a:lnTo>
                    <a:pt x="942" y="494"/>
                  </a:lnTo>
                  <a:lnTo>
                    <a:pt x="944" y="494"/>
                  </a:lnTo>
                  <a:lnTo>
                    <a:pt x="949" y="497"/>
                  </a:lnTo>
                  <a:lnTo>
                    <a:pt x="955" y="505"/>
                  </a:lnTo>
                  <a:lnTo>
                    <a:pt x="959" y="510"/>
                  </a:lnTo>
                  <a:lnTo>
                    <a:pt x="961" y="517"/>
                  </a:lnTo>
                  <a:lnTo>
                    <a:pt x="962" y="523"/>
                  </a:lnTo>
                  <a:lnTo>
                    <a:pt x="961" y="528"/>
                  </a:lnTo>
                  <a:lnTo>
                    <a:pt x="961" y="535"/>
                  </a:lnTo>
                  <a:lnTo>
                    <a:pt x="959" y="540"/>
                  </a:lnTo>
                  <a:lnTo>
                    <a:pt x="957" y="545"/>
                  </a:lnTo>
                  <a:lnTo>
                    <a:pt x="954" y="550"/>
                  </a:lnTo>
                  <a:lnTo>
                    <a:pt x="942" y="566"/>
                  </a:lnTo>
                  <a:lnTo>
                    <a:pt x="936" y="571"/>
                  </a:lnTo>
                  <a:lnTo>
                    <a:pt x="927" y="577"/>
                  </a:lnTo>
                  <a:lnTo>
                    <a:pt x="906" y="588"/>
                  </a:lnTo>
                  <a:lnTo>
                    <a:pt x="880" y="603"/>
                  </a:lnTo>
                  <a:lnTo>
                    <a:pt x="860" y="613"/>
                  </a:lnTo>
                  <a:lnTo>
                    <a:pt x="854" y="617"/>
                  </a:lnTo>
                  <a:lnTo>
                    <a:pt x="851" y="622"/>
                  </a:lnTo>
                  <a:lnTo>
                    <a:pt x="849" y="626"/>
                  </a:lnTo>
                  <a:lnTo>
                    <a:pt x="849" y="630"/>
                  </a:lnTo>
                  <a:lnTo>
                    <a:pt x="851" y="638"/>
                  </a:lnTo>
                  <a:lnTo>
                    <a:pt x="852" y="641"/>
                  </a:lnTo>
                  <a:lnTo>
                    <a:pt x="856" y="645"/>
                  </a:lnTo>
                  <a:lnTo>
                    <a:pt x="858" y="646"/>
                  </a:lnTo>
                  <a:lnTo>
                    <a:pt x="858" y="647"/>
                  </a:lnTo>
                  <a:lnTo>
                    <a:pt x="858" y="649"/>
                  </a:lnTo>
                  <a:lnTo>
                    <a:pt x="854" y="647"/>
                  </a:lnTo>
                  <a:lnTo>
                    <a:pt x="847" y="645"/>
                  </a:lnTo>
                  <a:lnTo>
                    <a:pt x="818" y="640"/>
                  </a:lnTo>
                  <a:lnTo>
                    <a:pt x="803" y="638"/>
                  </a:lnTo>
                  <a:lnTo>
                    <a:pt x="793" y="638"/>
                  </a:lnTo>
                  <a:lnTo>
                    <a:pt x="795" y="631"/>
                  </a:lnTo>
                  <a:lnTo>
                    <a:pt x="796" y="629"/>
                  </a:lnTo>
                  <a:lnTo>
                    <a:pt x="796" y="621"/>
                  </a:lnTo>
                  <a:lnTo>
                    <a:pt x="797" y="600"/>
                  </a:lnTo>
                  <a:lnTo>
                    <a:pt x="796" y="585"/>
                  </a:lnTo>
                  <a:lnTo>
                    <a:pt x="795" y="570"/>
                  </a:lnTo>
                  <a:lnTo>
                    <a:pt x="793" y="554"/>
                  </a:lnTo>
                  <a:lnTo>
                    <a:pt x="790" y="537"/>
                  </a:lnTo>
                  <a:lnTo>
                    <a:pt x="788" y="529"/>
                  </a:lnTo>
                  <a:lnTo>
                    <a:pt x="786" y="523"/>
                  </a:lnTo>
                  <a:lnTo>
                    <a:pt x="784" y="519"/>
                  </a:lnTo>
                  <a:lnTo>
                    <a:pt x="781" y="515"/>
                  </a:lnTo>
                  <a:lnTo>
                    <a:pt x="778" y="513"/>
                  </a:lnTo>
                  <a:lnTo>
                    <a:pt x="774" y="510"/>
                  </a:lnTo>
                  <a:lnTo>
                    <a:pt x="770" y="509"/>
                  </a:lnTo>
                  <a:lnTo>
                    <a:pt x="766" y="508"/>
                  </a:lnTo>
                  <a:lnTo>
                    <a:pt x="755" y="506"/>
                  </a:lnTo>
                  <a:lnTo>
                    <a:pt x="743" y="503"/>
                  </a:lnTo>
                  <a:lnTo>
                    <a:pt x="737" y="501"/>
                  </a:lnTo>
                  <a:lnTo>
                    <a:pt x="728" y="498"/>
                  </a:lnTo>
                  <a:lnTo>
                    <a:pt x="720" y="495"/>
                  </a:lnTo>
                  <a:lnTo>
                    <a:pt x="710" y="489"/>
                  </a:lnTo>
                  <a:lnTo>
                    <a:pt x="695" y="478"/>
                  </a:lnTo>
                  <a:lnTo>
                    <a:pt x="683" y="467"/>
                  </a:lnTo>
                  <a:lnTo>
                    <a:pt x="676" y="459"/>
                  </a:lnTo>
                  <a:lnTo>
                    <a:pt x="670" y="451"/>
                  </a:lnTo>
                  <a:lnTo>
                    <a:pt x="666" y="444"/>
                  </a:lnTo>
                  <a:lnTo>
                    <a:pt x="661" y="439"/>
                  </a:lnTo>
                  <a:lnTo>
                    <a:pt x="658" y="437"/>
                  </a:lnTo>
                  <a:lnTo>
                    <a:pt x="654" y="435"/>
                  </a:lnTo>
                  <a:lnTo>
                    <a:pt x="649" y="433"/>
                  </a:lnTo>
                  <a:lnTo>
                    <a:pt x="644" y="432"/>
                  </a:lnTo>
                  <a:lnTo>
                    <a:pt x="638" y="431"/>
                  </a:lnTo>
                  <a:lnTo>
                    <a:pt x="633" y="432"/>
                  </a:lnTo>
                  <a:lnTo>
                    <a:pt x="626" y="433"/>
                  </a:lnTo>
                  <a:lnTo>
                    <a:pt x="620" y="435"/>
                  </a:lnTo>
                  <a:lnTo>
                    <a:pt x="614" y="437"/>
                  </a:lnTo>
                  <a:lnTo>
                    <a:pt x="607" y="441"/>
                  </a:lnTo>
                  <a:lnTo>
                    <a:pt x="601" y="445"/>
                  </a:lnTo>
                  <a:lnTo>
                    <a:pt x="595" y="451"/>
                  </a:lnTo>
                  <a:lnTo>
                    <a:pt x="581" y="463"/>
                  </a:lnTo>
                  <a:lnTo>
                    <a:pt x="568" y="479"/>
                  </a:lnTo>
                  <a:lnTo>
                    <a:pt x="553" y="497"/>
                  </a:lnTo>
                  <a:lnTo>
                    <a:pt x="538" y="517"/>
                  </a:lnTo>
                  <a:lnTo>
                    <a:pt x="538" y="528"/>
                  </a:lnTo>
                  <a:lnTo>
                    <a:pt x="538" y="529"/>
                  </a:lnTo>
                  <a:lnTo>
                    <a:pt x="536" y="528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6" name="Freeform 24"/>
            <p:cNvSpPr>
              <a:spLocks/>
            </p:cNvSpPr>
            <p:nvPr/>
          </p:nvSpPr>
          <p:spPr bwMode="auto">
            <a:xfrm>
              <a:off x="4147446" y="3887165"/>
              <a:ext cx="61737" cy="28221"/>
            </a:xfrm>
            <a:custGeom>
              <a:avLst/>
              <a:gdLst>
                <a:gd name="T0" fmla="*/ 2147483647 w 106"/>
                <a:gd name="T1" fmla="*/ 0 h 47"/>
                <a:gd name="T2" fmla="*/ 2147483647 w 106"/>
                <a:gd name="T3" fmla="*/ 0 h 47"/>
                <a:gd name="T4" fmla="*/ 2147483647 w 106"/>
                <a:gd name="T5" fmla="*/ 2147483647 h 47"/>
                <a:gd name="T6" fmla="*/ 2147483647 w 106"/>
                <a:gd name="T7" fmla="*/ 2147483647 h 47"/>
                <a:gd name="T8" fmla="*/ 2147483647 w 106"/>
                <a:gd name="T9" fmla="*/ 2147483647 h 47"/>
                <a:gd name="T10" fmla="*/ 2147483647 w 106"/>
                <a:gd name="T11" fmla="*/ 2147483647 h 47"/>
                <a:gd name="T12" fmla="*/ 2147483647 w 106"/>
                <a:gd name="T13" fmla="*/ 2147483647 h 47"/>
                <a:gd name="T14" fmla="*/ 0 w 106"/>
                <a:gd name="T15" fmla="*/ 2147483647 h 47"/>
                <a:gd name="T16" fmla="*/ 2147483647 w 106"/>
                <a:gd name="T17" fmla="*/ 2147483647 h 47"/>
                <a:gd name="T18" fmla="*/ 2147483647 w 106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6" h="47">
                  <a:moveTo>
                    <a:pt x="27" y="0"/>
                  </a:moveTo>
                  <a:lnTo>
                    <a:pt x="53" y="0"/>
                  </a:lnTo>
                  <a:lnTo>
                    <a:pt x="81" y="2"/>
                  </a:lnTo>
                  <a:lnTo>
                    <a:pt x="106" y="15"/>
                  </a:lnTo>
                  <a:lnTo>
                    <a:pt x="81" y="29"/>
                  </a:lnTo>
                  <a:lnTo>
                    <a:pt x="55" y="29"/>
                  </a:lnTo>
                  <a:lnTo>
                    <a:pt x="27" y="47"/>
                  </a:lnTo>
                  <a:lnTo>
                    <a:pt x="0" y="36"/>
                  </a:lnTo>
                  <a:lnTo>
                    <a:pt x="11" y="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7" name="Freeform 25"/>
            <p:cNvSpPr>
              <a:spLocks/>
            </p:cNvSpPr>
            <p:nvPr/>
          </p:nvSpPr>
          <p:spPr bwMode="auto">
            <a:xfrm>
              <a:off x="3602404" y="3656096"/>
              <a:ext cx="29987" cy="26459"/>
            </a:xfrm>
            <a:custGeom>
              <a:avLst/>
              <a:gdLst>
                <a:gd name="T0" fmla="*/ 2147483647 w 51"/>
                <a:gd name="T1" fmla="*/ 0 h 44"/>
                <a:gd name="T2" fmla="*/ 2147483647 w 51"/>
                <a:gd name="T3" fmla="*/ 2147483647 h 44"/>
                <a:gd name="T4" fmla="*/ 2147483647 w 51"/>
                <a:gd name="T5" fmla="*/ 2147483647 h 44"/>
                <a:gd name="T6" fmla="*/ 0 w 51"/>
                <a:gd name="T7" fmla="*/ 2147483647 h 44"/>
                <a:gd name="T8" fmla="*/ 2147483647 w 51"/>
                <a:gd name="T9" fmla="*/ 2147483647 h 44"/>
                <a:gd name="T10" fmla="*/ 2147483647 w 51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44">
                  <a:moveTo>
                    <a:pt x="38" y="0"/>
                  </a:moveTo>
                  <a:lnTo>
                    <a:pt x="51" y="28"/>
                  </a:lnTo>
                  <a:lnTo>
                    <a:pt x="26" y="44"/>
                  </a:lnTo>
                  <a:lnTo>
                    <a:pt x="0" y="26"/>
                  </a:lnTo>
                  <a:lnTo>
                    <a:pt x="26" y="3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8" name="Freeform 26"/>
            <p:cNvSpPr>
              <a:spLocks noEditPoints="1"/>
            </p:cNvSpPr>
            <p:nvPr/>
          </p:nvSpPr>
          <p:spPr bwMode="auto">
            <a:xfrm>
              <a:off x="3949890" y="2730052"/>
              <a:ext cx="479780" cy="603251"/>
            </a:xfrm>
            <a:custGeom>
              <a:avLst/>
              <a:gdLst>
                <a:gd name="T0" fmla="*/ 2147483647 w 816"/>
                <a:gd name="T1" fmla="*/ 2147483647 h 1024"/>
                <a:gd name="T2" fmla="*/ 2147483647 w 816"/>
                <a:gd name="T3" fmla="*/ 2147483647 h 1024"/>
                <a:gd name="T4" fmla="*/ 0 w 816"/>
                <a:gd name="T5" fmla="*/ 2147483647 h 1024"/>
                <a:gd name="T6" fmla="*/ 2147483647 w 816"/>
                <a:gd name="T7" fmla="*/ 2147483647 h 1024"/>
                <a:gd name="T8" fmla="*/ 2147483647 w 816"/>
                <a:gd name="T9" fmla="*/ 2147483647 h 1024"/>
                <a:gd name="T10" fmla="*/ 2147483647 w 816"/>
                <a:gd name="T11" fmla="*/ 2147483647 h 1024"/>
                <a:gd name="T12" fmla="*/ 2147483647 w 816"/>
                <a:gd name="T13" fmla="*/ 2147483647 h 1024"/>
                <a:gd name="T14" fmla="*/ 2147483647 w 816"/>
                <a:gd name="T15" fmla="*/ 2147483647 h 1024"/>
                <a:gd name="T16" fmla="*/ 2147483647 w 816"/>
                <a:gd name="T17" fmla="*/ 2147483647 h 1024"/>
                <a:gd name="T18" fmla="*/ 2147483647 w 816"/>
                <a:gd name="T19" fmla="*/ 2147483647 h 1024"/>
                <a:gd name="T20" fmla="*/ 2147483647 w 816"/>
                <a:gd name="T21" fmla="*/ 2147483647 h 1024"/>
                <a:gd name="T22" fmla="*/ 2147483647 w 816"/>
                <a:gd name="T23" fmla="*/ 2147483647 h 1024"/>
                <a:gd name="T24" fmla="*/ 2147483647 w 816"/>
                <a:gd name="T25" fmla="*/ 2147483647 h 1024"/>
                <a:gd name="T26" fmla="*/ 2147483647 w 816"/>
                <a:gd name="T27" fmla="*/ 2147483647 h 1024"/>
                <a:gd name="T28" fmla="*/ 2147483647 w 816"/>
                <a:gd name="T29" fmla="*/ 2147483647 h 1024"/>
                <a:gd name="T30" fmla="*/ 2147483647 w 816"/>
                <a:gd name="T31" fmla="*/ 2147483647 h 1024"/>
                <a:gd name="T32" fmla="*/ 2147483647 w 816"/>
                <a:gd name="T33" fmla="*/ 2147483647 h 1024"/>
                <a:gd name="T34" fmla="*/ 2147483647 w 816"/>
                <a:gd name="T35" fmla="*/ 2147483647 h 1024"/>
                <a:gd name="T36" fmla="*/ 2147483647 w 816"/>
                <a:gd name="T37" fmla="*/ 2147483647 h 1024"/>
                <a:gd name="T38" fmla="*/ 2147483647 w 816"/>
                <a:gd name="T39" fmla="*/ 2147483647 h 1024"/>
                <a:gd name="T40" fmla="*/ 2147483647 w 816"/>
                <a:gd name="T41" fmla="*/ 2147483647 h 1024"/>
                <a:gd name="T42" fmla="*/ 2147483647 w 816"/>
                <a:gd name="T43" fmla="*/ 2147483647 h 1024"/>
                <a:gd name="T44" fmla="*/ 2147483647 w 816"/>
                <a:gd name="T45" fmla="*/ 2147483647 h 1024"/>
                <a:gd name="T46" fmla="*/ 2147483647 w 816"/>
                <a:gd name="T47" fmla="*/ 2147483647 h 1024"/>
                <a:gd name="T48" fmla="*/ 2147483647 w 816"/>
                <a:gd name="T49" fmla="*/ 2147483647 h 1024"/>
                <a:gd name="T50" fmla="*/ 2147483647 w 816"/>
                <a:gd name="T51" fmla="*/ 2147483647 h 1024"/>
                <a:gd name="T52" fmla="*/ 2147483647 w 816"/>
                <a:gd name="T53" fmla="*/ 2147483647 h 1024"/>
                <a:gd name="T54" fmla="*/ 2147483647 w 816"/>
                <a:gd name="T55" fmla="*/ 2147483647 h 1024"/>
                <a:gd name="T56" fmla="*/ 2147483647 w 816"/>
                <a:gd name="T57" fmla="*/ 2147483647 h 1024"/>
                <a:gd name="T58" fmla="*/ 2147483647 w 816"/>
                <a:gd name="T59" fmla="*/ 2147483647 h 1024"/>
                <a:gd name="T60" fmla="*/ 2147483647 w 816"/>
                <a:gd name="T61" fmla="*/ 2147483647 h 1024"/>
                <a:gd name="T62" fmla="*/ 2147483647 w 816"/>
                <a:gd name="T63" fmla="*/ 2147483647 h 1024"/>
                <a:gd name="T64" fmla="*/ 2147483647 w 816"/>
                <a:gd name="T65" fmla="*/ 2147483647 h 1024"/>
                <a:gd name="T66" fmla="*/ 2147483647 w 816"/>
                <a:gd name="T67" fmla="*/ 2147483647 h 1024"/>
                <a:gd name="T68" fmla="*/ 2147483647 w 816"/>
                <a:gd name="T69" fmla="*/ 2147483647 h 1024"/>
                <a:gd name="T70" fmla="*/ 2147483647 w 816"/>
                <a:gd name="T71" fmla="*/ 2147483647 h 1024"/>
                <a:gd name="T72" fmla="*/ 2147483647 w 816"/>
                <a:gd name="T73" fmla="*/ 2147483647 h 1024"/>
                <a:gd name="T74" fmla="*/ 2147483647 w 816"/>
                <a:gd name="T75" fmla="*/ 2147483647 h 1024"/>
                <a:gd name="T76" fmla="*/ 2147483647 w 816"/>
                <a:gd name="T77" fmla="*/ 2147483647 h 1024"/>
                <a:gd name="T78" fmla="*/ 2147483647 w 816"/>
                <a:gd name="T79" fmla="*/ 2147483647 h 1024"/>
                <a:gd name="T80" fmla="*/ 2147483647 w 816"/>
                <a:gd name="T81" fmla="*/ 2147483647 h 1024"/>
                <a:gd name="T82" fmla="*/ 2147483647 w 816"/>
                <a:gd name="T83" fmla="*/ 2147483647 h 1024"/>
                <a:gd name="T84" fmla="*/ 2147483647 w 816"/>
                <a:gd name="T85" fmla="*/ 2147483647 h 1024"/>
                <a:gd name="T86" fmla="*/ 2147483647 w 816"/>
                <a:gd name="T87" fmla="*/ 2147483647 h 1024"/>
                <a:gd name="T88" fmla="*/ 2147483647 w 816"/>
                <a:gd name="T89" fmla="*/ 2147483647 h 1024"/>
                <a:gd name="T90" fmla="*/ 2147483647 w 816"/>
                <a:gd name="T91" fmla="*/ 2147483647 h 1024"/>
                <a:gd name="T92" fmla="*/ 2147483647 w 816"/>
                <a:gd name="T93" fmla="*/ 2147483647 h 1024"/>
                <a:gd name="T94" fmla="*/ 2147483647 w 816"/>
                <a:gd name="T95" fmla="*/ 2147483647 h 1024"/>
                <a:gd name="T96" fmla="*/ 2147483647 w 816"/>
                <a:gd name="T97" fmla="*/ 2147483647 h 1024"/>
                <a:gd name="T98" fmla="*/ 2147483647 w 816"/>
                <a:gd name="T99" fmla="*/ 2147483647 h 1024"/>
                <a:gd name="T100" fmla="*/ 2147483647 w 816"/>
                <a:gd name="T101" fmla="*/ 2147483647 h 1024"/>
                <a:gd name="T102" fmla="*/ 2147483647 w 816"/>
                <a:gd name="T103" fmla="*/ 2147483647 h 1024"/>
                <a:gd name="T104" fmla="*/ 2147483647 w 816"/>
                <a:gd name="T105" fmla="*/ 2147483647 h 1024"/>
                <a:gd name="T106" fmla="*/ 2147483647 w 816"/>
                <a:gd name="T107" fmla="*/ 2147483647 h 1024"/>
                <a:gd name="T108" fmla="*/ 2147483647 w 816"/>
                <a:gd name="T109" fmla="*/ 2147483647 h 1024"/>
                <a:gd name="T110" fmla="*/ 2147483647 w 816"/>
                <a:gd name="T111" fmla="*/ 2147483647 h 1024"/>
                <a:gd name="T112" fmla="*/ 2147483647 w 816"/>
                <a:gd name="T113" fmla="*/ 2147483647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816" h="1024">
                  <a:moveTo>
                    <a:pt x="763" y="750"/>
                  </a:moveTo>
                  <a:lnTo>
                    <a:pt x="759" y="777"/>
                  </a:lnTo>
                  <a:lnTo>
                    <a:pt x="754" y="805"/>
                  </a:lnTo>
                  <a:lnTo>
                    <a:pt x="747" y="831"/>
                  </a:lnTo>
                  <a:lnTo>
                    <a:pt x="726" y="805"/>
                  </a:lnTo>
                  <a:lnTo>
                    <a:pt x="731" y="779"/>
                  </a:lnTo>
                  <a:lnTo>
                    <a:pt x="750" y="750"/>
                  </a:lnTo>
                  <a:lnTo>
                    <a:pt x="763" y="750"/>
                  </a:lnTo>
                  <a:close/>
                  <a:moveTo>
                    <a:pt x="15" y="703"/>
                  </a:moveTo>
                  <a:lnTo>
                    <a:pt x="31" y="685"/>
                  </a:lnTo>
                  <a:lnTo>
                    <a:pt x="15" y="714"/>
                  </a:lnTo>
                  <a:lnTo>
                    <a:pt x="0" y="740"/>
                  </a:lnTo>
                  <a:lnTo>
                    <a:pt x="15" y="763"/>
                  </a:lnTo>
                  <a:lnTo>
                    <a:pt x="40" y="770"/>
                  </a:lnTo>
                  <a:lnTo>
                    <a:pt x="67" y="786"/>
                  </a:lnTo>
                  <a:lnTo>
                    <a:pt x="79" y="758"/>
                  </a:lnTo>
                  <a:lnTo>
                    <a:pt x="95" y="731"/>
                  </a:lnTo>
                  <a:lnTo>
                    <a:pt x="98" y="731"/>
                  </a:lnTo>
                  <a:lnTo>
                    <a:pt x="90" y="758"/>
                  </a:lnTo>
                  <a:lnTo>
                    <a:pt x="90" y="786"/>
                  </a:lnTo>
                  <a:lnTo>
                    <a:pt x="98" y="812"/>
                  </a:lnTo>
                  <a:lnTo>
                    <a:pt x="118" y="837"/>
                  </a:lnTo>
                  <a:lnTo>
                    <a:pt x="118" y="920"/>
                  </a:lnTo>
                  <a:lnTo>
                    <a:pt x="123" y="949"/>
                  </a:lnTo>
                  <a:lnTo>
                    <a:pt x="127" y="975"/>
                  </a:lnTo>
                  <a:lnTo>
                    <a:pt x="121" y="1003"/>
                  </a:lnTo>
                  <a:lnTo>
                    <a:pt x="146" y="1024"/>
                  </a:lnTo>
                  <a:lnTo>
                    <a:pt x="173" y="1012"/>
                  </a:lnTo>
                  <a:lnTo>
                    <a:pt x="199" y="996"/>
                  </a:lnTo>
                  <a:lnTo>
                    <a:pt x="227" y="980"/>
                  </a:lnTo>
                  <a:lnTo>
                    <a:pt x="252" y="968"/>
                  </a:lnTo>
                  <a:lnTo>
                    <a:pt x="282" y="957"/>
                  </a:lnTo>
                  <a:lnTo>
                    <a:pt x="307" y="947"/>
                  </a:lnTo>
                  <a:lnTo>
                    <a:pt x="333" y="931"/>
                  </a:lnTo>
                  <a:lnTo>
                    <a:pt x="362" y="924"/>
                  </a:lnTo>
                  <a:lnTo>
                    <a:pt x="388" y="913"/>
                  </a:lnTo>
                  <a:lnTo>
                    <a:pt x="416" y="900"/>
                  </a:lnTo>
                  <a:lnTo>
                    <a:pt x="441" y="892"/>
                  </a:lnTo>
                  <a:lnTo>
                    <a:pt x="470" y="882"/>
                  </a:lnTo>
                  <a:lnTo>
                    <a:pt x="496" y="867"/>
                  </a:lnTo>
                  <a:lnTo>
                    <a:pt x="524" y="858"/>
                  </a:lnTo>
                  <a:lnTo>
                    <a:pt x="551" y="832"/>
                  </a:lnTo>
                  <a:lnTo>
                    <a:pt x="576" y="825"/>
                  </a:lnTo>
                  <a:lnTo>
                    <a:pt x="602" y="817"/>
                  </a:lnTo>
                  <a:lnTo>
                    <a:pt x="609" y="791"/>
                  </a:lnTo>
                  <a:lnTo>
                    <a:pt x="613" y="765"/>
                  </a:lnTo>
                  <a:lnTo>
                    <a:pt x="628" y="740"/>
                  </a:lnTo>
                  <a:lnTo>
                    <a:pt x="641" y="714"/>
                  </a:lnTo>
                  <a:lnTo>
                    <a:pt x="667" y="687"/>
                  </a:lnTo>
                  <a:lnTo>
                    <a:pt x="682" y="659"/>
                  </a:lnTo>
                  <a:lnTo>
                    <a:pt x="680" y="634"/>
                  </a:lnTo>
                  <a:lnTo>
                    <a:pt x="667" y="607"/>
                  </a:lnTo>
                  <a:lnTo>
                    <a:pt x="648" y="579"/>
                  </a:lnTo>
                  <a:lnTo>
                    <a:pt x="659" y="553"/>
                  </a:lnTo>
                  <a:lnTo>
                    <a:pt x="682" y="579"/>
                  </a:lnTo>
                  <a:lnTo>
                    <a:pt x="687" y="605"/>
                  </a:lnTo>
                  <a:lnTo>
                    <a:pt x="713" y="600"/>
                  </a:lnTo>
                  <a:lnTo>
                    <a:pt x="734" y="574"/>
                  </a:lnTo>
                  <a:lnTo>
                    <a:pt x="742" y="545"/>
                  </a:lnTo>
                  <a:lnTo>
                    <a:pt x="740" y="519"/>
                  </a:lnTo>
                  <a:lnTo>
                    <a:pt x="740" y="491"/>
                  </a:lnTo>
                  <a:lnTo>
                    <a:pt x="744" y="465"/>
                  </a:lnTo>
                  <a:lnTo>
                    <a:pt x="719" y="470"/>
                  </a:lnTo>
                  <a:lnTo>
                    <a:pt x="719" y="445"/>
                  </a:lnTo>
                  <a:lnTo>
                    <a:pt x="744" y="436"/>
                  </a:lnTo>
                  <a:lnTo>
                    <a:pt x="770" y="434"/>
                  </a:lnTo>
                  <a:lnTo>
                    <a:pt x="798" y="442"/>
                  </a:lnTo>
                  <a:lnTo>
                    <a:pt x="804" y="413"/>
                  </a:lnTo>
                  <a:lnTo>
                    <a:pt x="809" y="387"/>
                  </a:lnTo>
                  <a:lnTo>
                    <a:pt x="816" y="363"/>
                  </a:lnTo>
                  <a:lnTo>
                    <a:pt x="814" y="361"/>
                  </a:lnTo>
                  <a:lnTo>
                    <a:pt x="812" y="360"/>
                  </a:lnTo>
                  <a:lnTo>
                    <a:pt x="804" y="360"/>
                  </a:lnTo>
                  <a:lnTo>
                    <a:pt x="778" y="359"/>
                  </a:lnTo>
                  <a:lnTo>
                    <a:pt x="758" y="358"/>
                  </a:lnTo>
                  <a:lnTo>
                    <a:pt x="733" y="355"/>
                  </a:lnTo>
                  <a:lnTo>
                    <a:pt x="702" y="351"/>
                  </a:lnTo>
                  <a:lnTo>
                    <a:pt x="666" y="347"/>
                  </a:lnTo>
                  <a:lnTo>
                    <a:pt x="648" y="344"/>
                  </a:lnTo>
                  <a:lnTo>
                    <a:pt x="635" y="341"/>
                  </a:lnTo>
                  <a:lnTo>
                    <a:pt x="623" y="338"/>
                  </a:lnTo>
                  <a:lnTo>
                    <a:pt x="616" y="333"/>
                  </a:lnTo>
                  <a:lnTo>
                    <a:pt x="610" y="330"/>
                  </a:lnTo>
                  <a:lnTo>
                    <a:pt x="607" y="325"/>
                  </a:lnTo>
                  <a:lnTo>
                    <a:pt x="606" y="321"/>
                  </a:lnTo>
                  <a:lnTo>
                    <a:pt x="606" y="314"/>
                  </a:lnTo>
                  <a:lnTo>
                    <a:pt x="608" y="300"/>
                  </a:lnTo>
                  <a:lnTo>
                    <a:pt x="610" y="280"/>
                  </a:lnTo>
                  <a:lnTo>
                    <a:pt x="611" y="268"/>
                  </a:lnTo>
                  <a:lnTo>
                    <a:pt x="611" y="255"/>
                  </a:lnTo>
                  <a:lnTo>
                    <a:pt x="609" y="240"/>
                  </a:lnTo>
                  <a:lnTo>
                    <a:pt x="605" y="223"/>
                  </a:lnTo>
                  <a:lnTo>
                    <a:pt x="602" y="206"/>
                  </a:lnTo>
                  <a:lnTo>
                    <a:pt x="599" y="193"/>
                  </a:lnTo>
                  <a:lnTo>
                    <a:pt x="598" y="181"/>
                  </a:lnTo>
                  <a:lnTo>
                    <a:pt x="598" y="173"/>
                  </a:lnTo>
                  <a:lnTo>
                    <a:pt x="599" y="164"/>
                  </a:lnTo>
                  <a:lnTo>
                    <a:pt x="601" y="159"/>
                  </a:lnTo>
                  <a:lnTo>
                    <a:pt x="603" y="154"/>
                  </a:lnTo>
                  <a:lnTo>
                    <a:pt x="606" y="150"/>
                  </a:lnTo>
                  <a:lnTo>
                    <a:pt x="614" y="143"/>
                  </a:lnTo>
                  <a:lnTo>
                    <a:pt x="621" y="136"/>
                  </a:lnTo>
                  <a:lnTo>
                    <a:pt x="624" y="131"/>
                  </a:lnTo>
                  <a:lnTo>
                    <a:pt x="627" y="124"/>
                  </a:lnTo>
                  <a:lnTo>
                    <a:pt x="629" y="117"/>
                  </a:lnTo>
                  <a:lnTo>
                    <a:pt x="631" y="109"/>
                  </a:lnTo>
                  <a:lnTo>
                    <a:pt x="631" y="98"/>
                  </a:lnTo>
                  <a:lnTo>
                    <a:pt x="629" y="89"/>
                  </a:lnTo>
                  <a:lnTo>
                    <a:pt x="627" y="79"/>
                  </a:lnTo>
                  <a:lnTo>
                    <a:pt x="623" y="71"/>
                  </a:lnTo>
                  <a:lnTo>
                    <a:pt x="618" y="62"/>
                  </a:lnTo>
                  <a:lnTo>
                    <a:pt x="611" y="55"/>
                  </a:lnTo>
                  <a:lnTo>
                    <a:pt x="604" y="47"/>
                  </a:lnTo>
                  <a:lnTo>
                    <a:pt x="597" y="40"/>
                  </a:lnTo>
                  <a:lnTo>
                    <a:pt x="582" y="27"/>
                  </a:lnTo>
                  <a:lnTo>
                    <a:pt x="566" y="16"/>
                  </a:lnTo>
                  <a:lnTo>
                    <a:pt x="553" y="8"/>
                  </a:lnTo>
                  <a:lnTo>
                    <a:pt x="542" y="0"/>
                  </a:lnTo>
                  <a:lnTo>
                    <a:pt x="536" y="2"/>
                  </a:lnTo>
                  <a:lnTo>
                    <a:pt x="535" y="5"/>
                  </a:lnTo>
                  <a:lnTo>
                    <a:pt x="534" y="11"/>
                  </a:lnTo>
                  <a:lnTo>
                    <a:pt x="532" y="18"/>
                  </a:lnTo>
                  <a:lnTo>
                    <a:pt x="526" y="27"/>
                  </a:lnTo>
                  <a:lnTo>
                    <a:pt x="520" y="36"/>
                  </a:lnTo>
                  <a:lnTo>
                    <a:pt x="511" y="45"/>
                  </a:lnTo>
                  <a:lnTo>
                    <a:pt x="504" y="49"/>
                  </a:lnTo>
                  <a:lnTo>
                    <a:pt x="498" y="53"/>
                  </a:lnTo>
                  <a:lnTo>
                    <a:pt x="491" y="57"/>
                  </a:lnTo>
                  <a:lnTo>
                    <a:pt x="481" y="60"/>
                  </a:lnTo>
                  <a:lnTo>
                    <a:pt x="473" y="65"/>
                  </a:lnTo>
                  <a:lnTo>
                    <a:pt x="465" y="68"/>
                  </a:lnTo>
                  <a:lnTo>
                    <a:pt x="459" y="72"/>
                  </a:lnTo>
                  <a:lnTo>
                    <a:pt x="454" y="75"/>
                  </a:lnTo>
                  <a:lnTo>
                    <a:pt x="451" y="79"/>
                  </a:lnTo>
                  <a:lnTo>
                    <a:pt x="448" y="83"/>
                  </a:lnTo>
                  <a:lnTo>
                    <a:pt x="446" y="88"/>
                  </a:lnTo>
                  <a:lnTo>
                    <a:pt x="445" y="92"/>
                  </a:lnTo>
                  <a:lnTo>
                    <a:pt x="442" y="102"/>
                  </a:lnTo>
                  <a:lnTo>
                    <a:pt x="440" y="113"/>
                  </a:lnTo>
                  <a:lnTo>
                    <a:pt x="439" y="119"/>
                  </a:lnTo>
                  <a:lnTo>
                    <a:pt x="437" y="125"/>
                  </a:lnTo>
                  <a:lnTo>
                    <a:pt x="434" y="133"/>
                  </a:lnTo>
                  <a:lnTo>
                    <a:pt x="431" y="140"/>
                  </a:lnTo>
                  <a:lnTo>
                    <a:pt x="415" y="168"/>
                  </a:lnTo>
                  <a:lnTo>
                    <a:pt x="402" y="196"/>
                  </a:lnTo>
                  <a:lnTo>
                    <a:pt x="388" y="227"/>
                  </a:lnTo>
                  <a:lnTo>
                    <a:pt x="371" y="270"/>
                  </a:lnTo>
                  <a:lnTo>
                    <a:pt x="366" y="282"/>
                  </a:lnTo>
                  <a:lnTo>
                    <a:pt x="361" y="292"/>
                  </a:lnTo>
                  <a:lnTo>
                    <a:pt x="355" y="301"/>
                  </a:lnTo>
                  <a:lnTo>
                    <a:pt x="349" y="308"/>
                  </a:lnTo>
                  <a:lnTo>
                    <a:pt x="343" y="314"/>
                  </a:lnTo>
                  <a:lnTo>
                    <a:pt x="336" y="320"/>
                  </a:lnTo>
                  <a:lnTo>
                    <a:pt x="329" y="323"/>
                  </a:lnTo>
                  <a:lnTo>
                    <a:pt x="322" y="327"/>
                  </a:lnTo>
                  <a:lnTo>
                    <a:pt x="306" y="331"/>
                  </a:lnTo>
                  <a:lnTo>
                    <a:pt x="288" y="334"/>
                  </a:lnTo>
                  <a:lnTo>
                    <a:pt x="268" y="338"/>
                  </a:lnTo>
                  <a:lnTo>
                    <a:pt x="247" y="340"/>
                  </a:lnTo>
                  <a:lnTo>
                    <a:pt x="237" y="342"/>
                  </a:lnTo>
                  <a:lnTo>
                    <a:pt x="228" y="345"/>
                  </a:lnTo>
                  <a:lnTo>
                    <a:pt x="221" y="347"/>
                  </a:lnTo>
                  <a:lnTo>
                    <a:pt x="216" y="350"/>
                  </a:lnTo>
                  <a:lnTo>
                    <a:pt x="213" y="354"/>
                  </a:lnTo>
                  <a:lnTo>
                    <a:pt x="209" y="358"/>
                  </a:lnTo>
                  <a:lnTo>
                    <a:pt x="208" y="363"/>
                  </a:lnTo>
                  <a:lnTo>
                    <a:pt x="207" y="367"/>
                  </a:lnTo>
                  <a:lnTo>
                    <a:pt x="213" y="391"/>
                  </a:lnTo>
                  <a:lnTo>
                    <a:pt x="221" y="423"/>
                  </a:lnTo>
                  <a:lnTo>
                    <a:pt x="222" y="431"/>
                  </a:lnTo>
                  <a:lnTo>
                    <a:pt x="222" y="437"/>
                  </a:lnTo>
                  <a:lnTo>
                    <a:pt x="221" y="444"/>
                  </a:lnTo>
                  <a:lnTo>
                    <a:pt x="219" y="448"/>
                  </a:lnTo>
                  <a:lnTo>
                    <a:pt x="217" y="452"/>
                  </a:lnTo>
                  <a:lnTo>
                    <a:pt x="214" y="455"/>
                  </a:lnTo>
                  <a:lnTo>
                    <a:pt x="209" y="457"/>
                  </a:lnTo>
                  <a:lnTo>
                    <a:pt x="205" y="459"/>
                  </a:lnTo>
                  <a:lnTo>
                    <a:pt x="196" y="465"/>
                  </a:lnTo>
                  <a:lnTo>
                    <a:pt x="187" y="470"/>
                  </a:lnTo>
                  <a:lnTo>
                    <a:pt x="184" y="473"/>
                  </a:lnTo>
                  <a:lnTo>
                    <a:pt x="181" y="477"/>
                  </a:lnTo>
                  <a:lnTo>
                    <a:pt x="179" y="482"/>
                  </a:lnTo>
                  <a:lnTo>
                    <a:pt x="177" y="490"/>
                  </a:lnTo>
                  <a:lnTo>
                    <a:pt x="175" y="501"/>
                  </a:lnTo>
                  <a:lnTo>
                    <a:pt x="172" y="511"/>
                  </a:lnTo>
                  <a:lnTo>
                    <a:pt x="171" y="514"/>
                  </a:lnTo>
                  <a:lnTo>
                    <a:pt x="167" y="517"/>
                  </a:lnTo>
                  <a:lnTo>
                    <a:pt x="164" y="520"/>
                  </a:lnTo>
                  <a:lnTo>
                    <a:pt x="161" y="522"/>
                  </a:lnTo>
                  <a:lnTo>
                    <a:pt x="136" y="535"/>
                  </a:lnTo>
                  <a:lnTo>
                    <a:pt x="88" y="556"/>
                  </a:lnTo>
                  <a:lnTo>
                    <a:pt x="74" y="563"/>
                  </a:lnTo>
                  <a:lnTo>
                    <a:pt x="61" y="573"/>
                  </a:lnTo>
                  <a:lnTo>
                    <a:pt x="52" y="582"/>
                  </a:lnTo>
                  <a:lnTo>
                    <a:pt x="44" y="592"/>
                  </a:lnTo>
                  <a:lnTo>
                    <a:pt x="37" y="602"/>
                  </a:lnTo>
                  <a:lnTo>
                    <a:pt x="33" y="613"/>
                  </a:lnTo>
                  <a:lnTo>
                    <a:pt x="29" y="623"/>
                  </a:lnTo>
                  <a:lnTo>
                    <a:pt x="27" y="634"/>
                  </a:lnTo>
                  <a:lnTo>
                    <a:pt x="26" y="644"/>
                  </a:lnTo>
                  <a:lnTo>
                    <a:pt x="25" y="653"/>
                  </a:lnTo>
                  <a:lnTo>
                    <a:pt x="25" y="661"/>
                  </a:lnTo>
                  <a:lnTo>
                    <a:pt x="26" y="668"/>
                  </a:lnTo>
                  <a:lnTo>
                    <a:pt x="27" y="679"/>
                  </a:lnTo>
                  <a:lnTo>
                    <a:pt x="28" y="683"/>
                  </a:lnTo>
                  <a:lnTo>
                    <a:pt x="18" y="700"/>
                  </a:lnTo>
                  <a:lnTo>
                    <a:pt x="15" y="703"/>
                  </a:lnTo>
                  <a:close/>
                  <a:moveTo>
                    <a:pt x="706" y="709"/>
                  </a:moveTo>
                  <a:lnTo>
                    <a:pt x="701" y="735"/>
                  </a:lnTo>
                  <a:lnTo>
                    <a:pt x="715" y="787"/>
                  </a:lnTo>
                  <a:lnTo>
                    <a:pt x="713" y="815"/>
                  </a:lnTo>
                  <a:lnTo>
                    <a:pt x="715" y="841"/>
                  </a:lnTo>
                  <a:lnTo>
                    <a:pt x="721" y="867"/>
                  </a:lnTo>
                  <a:lnTo>
                    <a:pt x="711" y="893"/>
                  </a:lnTo>
                  <a:lnTo>
                    <a:pt x="719" y="921"/>
                  </a:lnTo>
                  <a:lnTo>
                    <a:pt x="692" y="939"/>
                  </a:lnTo>
                  <a:lnTo>
                    <a:pt x="667" y="968"/>
                  </a:lnTo>
                  <a:lnTo>
                    <a:pt x="641" y="978"/>
                  </a:lnTo>
                  <a:lnTo>
                    <a:pt x="630" y="950"/>
                  </a:lnTo>
                  <a:lnTo>
                    <a:pt x="634" y="924"/>
                  </a:lnTo>
                  <a:lnTo>
                    <a:pt x="636" y="895"/>
                  </a:lnTo>
                  <a:lnTo>
                    <a:pt x="620" y="870"/>
                  </a:lnTo>
                  <a:lnTo>
                    <a:pt x="613" y="841"/>
                  </a:lnTo>
                  <a:lnTo>
                    <a:pt x="623" y="815"/>
                  </a:lnTo>
                  <a:lnTo>
                    <a:pt x="625" y="787"/>
                  </a:lnTo>
                  <a:lnTo>
                    <a:pt x="639" y="761"/>
                  </a:lnTo>
                  <a:lnTo>
                    <a:pt x="648" y="735"/>
                  </a:lnTo>
                  <a:lnTo>
                    <a:pt x="674" y="709"/>
                  </a:lnTo>
                  <a:lnTo>
                    <a:pt x="701" y="688"/>
                  </a:lnTo>
                  <a:lnTo>
                    <a:pt x="706" y="709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59" name="Freeform 27"/>
            <p:cNvSpPr>
              <a:spLocks/>
            </p:cNvSpPr>
            <p:nvPr/>
          </p:nvSpPr>
          <p:spPr bwMode="auto">
            <a:xfrm>
              <a:off x="2820996" y="4063555"/>
              <a:ext cx="31750" cy="14111"/>
            </a:xfrm>
            <a:custGeom>
              <a:avLst/>
              <a:gdLst>
                <a:gd name="T0" fmla="*/ 2147483647 w 54"/>
                <a:gd name="T1" fmla="*/ 0 h 23"/>
                <a:gd name="T2" fmla="*/ 2147483647 w 54"/>
                <a:gd name="T3" fmla="*/ 2147483647 h 23"/>
                <a:gd name="T4" fmla="*/ 2147483647 w 54"/>
                <a:gd name="T5" fmla="*/ 2147483647 h 23"/>
                <a:gd name="T6" fmla="*/ 2147483647 w 54"/>
                <a:gd name="T7" fmla="*/ 2147483647 h 23"/>
                <a:gd name="T8" fmla="*/ 0 w 54"/>
                <a:gd name="T9" fmla="*/ 2147483647 h 23"/>
                <a:gd name="T10" fmla="*/ 2147483647 w 54"/>
                <a:gd name="T11" fmla="*/ 0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" h="23">
                  <a:moveTo>
                    <a:pt x="3" y="0"/>
                  </a:moveTo>
                  <a:lnTo>
                    <a:pt x="28" y="9"/>
                  </a:lnTo>
                  <a:lnTo>
                    <a:pt x="54" y="18"/>
                  </a:lnTo>
                  <a:lnTo>
                    <a:pt x="28" y="23"/>
                  </a:lnTo>
                  <a:lnTo>
                    <a:pt x="0" y="2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0" name="Freeform 28"/>
            <p:cNvSpPr>
              <a:spLocks/>
            </p:cNvSpPr>
            <p:nvPr/>
          </p:nvSpPr>
          <p:spPr bwMode="auto">
            <a:xfrm>
              <a:off x="3074998" y="4051208"/>
              <a:ext cx="151695" cy="121709"/>
            </a:xfrm>
            <a:custGeom>
              <a:avLst/>
              <a:gdLst>
                <a:gd name="T0" fmla="*/ 2147483647 w 259"/>
                <a:gd name="T1" fmla="*/ 2147483647 h 207"/>
                <a:gd name="T2" fmla="*/ 2147483647 w 259"/>
                <a:gd name="T3" fmla="*/ 2147483647 h 207"/>
                <a:gd name="T4" fmla="*/ 2147483647 w 259"/>
                <a:gd name="T5" fmla="*/ 2147483647 h 207"/>
                <a:gd name="T6" fmla="*/ 2147483647 w 259"/>
                <a:gd name="T7" fmla="*/ 2147483647 h 207"/>
                <a:gd name="T8" fmla="*/ 2147483647 w 259"/>
                <a:gd name="T9" fmla="*/ 2147483647 h 207"/>
                <a:gd name="T10" fmla="*/ 2147483647 w 259"/>
                <a:gd name="T11" fmla="*/ 2147483647 h 207"/>
                <a:gd name="T12" fmla="*/ 2147483647 w 259"/>
                <a:gd name="T13" fmla="*/ 2147483647 h 207"/>
                <a:gd name="T14" fmla="*/ 2147483647 w 259"/>
                <a:gd name="T15" fmla="*/ 2147483647 h 207"/>
                <a:gd name="T16" fmla="*/ 2147483647 w 259"/>
                <a:gd name="T17" fmla="*/ 2147483647 h 207"/>
                <a:gd name="T18" fmla="*/ 2147483647 w 259"/>
                <a:gd name="T19" fmla="*/ 2147483647 h 207"/>
                <a:gd name="T20" fmla="*/ 0 w 259"/>
                <a:gd name="T21" fmla="*/ 2147483647 h 207"/>
                <a:gd name="T22" fmla="*/ 0 w 259"/>
                <a:gd name="T23" fmla="*/ 2147483647 h 207"/>
                <a:gd name="T24" fmla="*/ 0 w 259"/>
                <a:gd name="T25" fmla="*/ 2147483647 h 207"/>
                <a:gd name="T26" fmla="*/ 2147483647 w 259"/>
                <a:gd name="T27" fmla="*/ 2147483647 h 207"/>
                <a:gd name="T28" fmla="*/ 2147483647 w 259"/>
                <a:gd name="T29" fmla="*/ 2147483647 h 207"/>
                <a:gd name="T30" fmla="*/ 2147483647 w 259"/>
                <a:gd name="T31" fmla="*/ 2147483647 h 207"/>
                <a:gd name="T32" fmla="*/ 2147483647 w 259"/>
                <a:gd name="T33" fmla="*/ 2147483647 h 207"/>
                <a:gd name="T34" fmla="*/ 2147483647 w 259"/>
                <a:gd name="T35" fmla="*/ 2147483647 h 207"/>
                <a:gd name="T36" fmla="*/ 2147483647 w 259"/>
                <a:gd name="T37" fmla="*/ 2147483647 h 207"/>
                <a:gd name="T38" fmla="*/ 2147483647 w 259"/>
                <a:gd name="T39" fmla="*/ 2147483647 h 207"/>
                <a:gd name="T40" fmla="*/ 2147483647 w 259"/>
                <a:gd name="T41" fmla="*/ 2147483647 h 207"/>
                <a:gd name="T42" fmla="*/ 2147483647 w 259"/>
                <a:gd name="T43" fmla="*/ 2147483647 h 207"/>
                <a:gd name="T44" fmla="*/ 2147483647 w 259"/>
                <a:gd name="T45" fmla="*/ 2147483647 h 207"/>
                <a:gd name="T46" fmla="*/ 2147483647 w 259"/>
                <a:gd name="T47" fmla="*/ 0 h 207"/>
                <a:gd name="T48" fmla="*/ 2147483647 w 259"/>
                <a:gd name="T49" fmla="*/ 2147483647 h 207"/>
                <a:gd name="T50" fmla="*/ 2147483647 w 259"/>
                <a:gd name="T51" fmla="*/ 2147483647 h 207"/>
                <a:gd name="T52" fmla="*/ 2147483647 w 259"/>
                <a:gd name="T53" fmla="*/ 2147483647 h 207"/>
                <a:gd name="T54" fmla="*/ 2147483647 w 259"/>
                <a:gd name="T55" fmla="*/ 2147483647 h 207"/>
                <a:gd name="T56" fmla="*/ 2147483647 w 259"/>
                <a:gd name="T57" fmla="*/ 2147483647 h 207"/>
                <a:gd name="T58" fmla="*/ 2147483647 w 259"/>
                <a:gd name="T59" fmla="*/ 2147483647 h 207"/>
                <a:gd name="T60" fmla="*/ 2147483647 w 259"/>
                <a:gd name="T61" fmla="*/ 2147483647 h 207"/>
                <a:gd name="T62" fmla="*/ 2147483647 w 259"/>
                <a:gd name="T63" fmla="*/ 2147483647 h 207"/>
                <a:gd name="T64" fmla="*/ 2147483647 w 259"/>
                <a:gd name="T65" fmla="*/ 2147483647 h 207"/>
                <a:gd name="T66" fmla="*/ 2147483647 w 259"/>
                <a:gd name="T67" fmla="*/ 2147483647 h 207"/>
                <a:gd name="T68" fmla="*/ 2147483647 w 259"/>
                <a:gd name="T69" fmla="*/ 2147483647 h 207"/>
                <a:gd name="T70" fmla="*/ 2147483647 w 259"/>
                <a:gd name="T71" fmla="*/ 2147483647 h 207"/>
                <a:gd name="T72" fmla="*/ 2147483647 w 259"/>
                <a:gd name="T73" fmla="*/ 2147483647 h 207"/>
                <a:gd name="T74" fmla="*/ 2147483647 w 259"/>
                <a:gd name="T75" fmla="*/ 2147483647 h 207"/>
                <a:gd name="T76" fmla="*/ 2147483647 w 259"/>
                <a:gd name="T77" fmla="*/ 2147483647 h 207"/>
                <a:gd name="T78" fmla="*/ 2147483647 w 259"/>
                <a:gd name="T79" fmla="*/ 2147483647 h 207"/>
                <a:gd name="T80" fmla="*/ 2147483647 w 259"/>
                <a:gd name="T81" fmla="*/ 2147483647 h 207"/>
                <a:gd name="T82" fmla="*/ 2147483647 w 259"/>
                <a:gd name="T83" fmla="*/ 2147483647 h 207"/>
                <a:gd name="T84" fmla="*/ 2147483647 w 259"/>
                <a:gd name="T85" fmla="*/ 2147483647 h 207"/>
                <a:gd name="T86" fmla="*/ 2147483647 w 259"/>
                <a:gd name="T87" fmla="*/ 2147483647 h 207"/>
                <a:gd name="T88" fmla="*/ 2147483647 w 259"/>
                <a:gd name="T89" fmla="*/ 2147483647 h 207"/>
                <a:gd name="T90" fmla="*/ 2147483647 w 259"/>
                <a:gd name="T91" fmla="*/ 2147483647 h 207"/>
                <a:gd name="T92" fmla="*/ 2147483647 w 259"/>
                <a:gd name="T93" fmla="*/ 2147483647 h 207"/>
                <a:gd name="T94" fmla="*/ 2147483647 w 259"/>
                <a:gd name="T95" fmla="*/ 2147483647 h 207"/>
                <a:gd name="T96" fmla="*/ 2147483647 w 259"/>
                <a:gd name="T97" fmla="*/ 2147483647 h 207"/>
                <a:gd name="T98" fmla="*/ 2147483647 w 259"/>
                <a:gd name="T99" fmla="*/ 2147483647 h 207"/>
                <a:gd name="T100" fmla="*/ 2147483647 w 259"/>
                <a:gd name="T101" fmla="*/ 2147483647 h 207"/>
                <a:gd name="T102" fmla="*/ 2147483647 w 259"/>
                <a:gd name="T103" fmla="*/ 2147483647 h 207"/>
                <a:gd name="T104" fmla="*/ 2147483647 w 259"/>
                <a:gd name="T105" fmla="*/ 2147483647 h 207"/>
                <a:gd name="T106" fmla="*/ 2147483647 w 259"/>
                <a:gd name="T107" fmla="*/ 2147483647 h 207"/>
                <a:gd name="T108" fmla="*/ 2147483647 w 259"/>
                <a:gd name="T109" fmla="*/ 2147483647 h 207"/>
                <a:gd name="T110" fmla="*/ 2147483647 w 259"/>
                <a:gd name="T111" fmla="*/ 2147483647 h 207"/>
                <a:gd name="T112" fmla="*/ 2147483647 w 259"/>
                <a:gd name="T113" fmla="*/ 2147483647 h 20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59" h="207">
                  <a:moveTo>
                    <a:pt x="255" y="207"/>
                  </a:moveTo>
                  <a:lnTo>
                    <a:pt x="238" y="207"/>
                  </a:lnTo>
                  <a:lnTo>
                    <a:pt x="210" y="193"/>
                  </a:lnTo>
                  <a:lnTo>
                    <a:pt x="185" y="186"/>
                  </a:lnTo>
                  <a:lnTo>
                    <a:pt x="159" y="178"/>
                  </a:lnTo>
                  <a:lnTo>
                    <a:pt x="130" y="165"/>
                  </a:lnTo>
                  <a:lnTo>
                    <a:pt x="104" y="149"/>
                  </a:lnTo>
                  <a:lnTo>
                    <a:pt x="79" y="139"/>
                  </a:lnTo>
                  <a:lnTo>
                    <a:pt x="53" y="124"/>
                  </a:lnTo>
                  <a:lnTo>
                    <a:pt x="26" y="113"/>
                  </a:lnTo>
                  <a:lnTo>
                    <a:pt x="0" y="98"/>
                  </a:lnTo>
                  <a:lnTo>
                    <a:pt x="0" y="97"/>
                  </a:lnTo>
                  <a:lnTo>
                    <a:pt x="0" y="86"/>
                  </a:lnTo>
                  <a:lnTo>
                    <a:pt x="15" y="66"/>
                  </a:lnTo>
                  <a:lnTo>
                    <a:pt x="30" y="48"/>
                  </a:lnTo>
                  <a:lnTo>
                    <a:pt x="43" y="32"/>
                  </a:lnTo>
                  <a:lnTo>
                    <a:pt x="57" y="20"/>
                  </a:lnTo>
                  <a:lnTo>
                    <a:pt x="63" y="14"/>
                  </a:lnTo>
                  <a:lnTo>
                    <a:pt x="69" y="10"/>
                  </a:lnTo>
                  <a:lnTo>
                    <a:pt x="76" y="6"/>
                  </a:lnTo>
                  <a:lnTo>
                    <a:pt x="82" y="4"/>
                  </a:lnTo>
                  <a:lnTo>
                    <a:pt x="88" y="2"/>
                  </a:lnTo>
                  <a:lnTo>
                    <a:pt x="95" y="1"/>
                  </a:lnTo>
                  <a:lnTo>
                    <a:pt x="100" y="0"/>
                  </a:lnTo>
                  <a:lnTo>
                    <a:pt x="106" y="1"/>
                  </a:lnTo>
                  <a:lnTo>
                    <a:pt x="111" y="2"/>
                  </a:lnTo>
                  <a:lnTo>
                    <a:pt x="116" y="4"/>
                  </a:lnTo>
                  <a:lnTo>
                    <a:pt x="120" y="6"/>
                  </a:lnTo>
                  <a:lnTo>
                    <a:pt x="123" y="8"/>
                  </a:lnTo>
                  <a:lnTo>
                    <a:pt x="128" y="13"/>
                  </a:lnTo>
                  <a:lnTo>
                    <a:pt x="132" y="20"/>
                  </a:lnTo>
                  <a:lnTo>
                    <a:pt x="138" y="28"/>
                  </a:lnTo>
                  <a:lnTo>
                    <a:pt x="145" y="36"/>
                  </a:lnTo>
                  <a:lnTo>
                    <a:pt x="157" y="47"/>
                  </a:lnTo>
                  <a:lnTo>
                    <a:pt x="172" y="58"/>
                  </a:lnTo>
                  <a:lnTo>
                    <a:pt x="182" y="64"/>
                  </a:lnTo>
                  <a:lnTo>
                    <a:pt x="190" y="67"/>
                  </a:lnTo>
                  <a:lnTo>
                    <a:pt x="199" y="70"/>
                  </a:lnTo>
                  <a:lnTo>
                    <a:pt x="205" y="72"/>
                  </a:lnTo>
                  <a:lnTo>
                    <a:pt x="217" y="75"/>
                  </a:lnTo>
                  <a:lnTo>
                    <a:pt x="228" y="77"/>
                  </a:lnTo>
                  <a:lnTo>
                    <a:pt x="232" y="78"/>
                  </a:lnTo>
                  <a:lnTo>
                    <a:pt x="236" y="79"/>
                  </a:lnTo>
                  <a:lnTo>
                    <a:pt x="240" y="82"/>
                  </a:lnTo>
                  <a:lnTo>
                    <a:pt x="243" y="84"/>
                  </a:lnTo>
                  <a:lnTo>
                    <a:pt x="246" y="88"/>
                  </a:lnTo>
                  <a:lnTo>
                    <a:pt x="248" y="92"/>
                  </a:lnTo>
                  <a:lnTo>
                    <a:pt x="250" y="98"/>
                  </a:lnTo>
                  <a:lnTo>
                    <a:pt x="252" y="106"/>
                  </a:lnTo>
                  <a:lnTo>
                    <a:pt x="255" y="123"/>
                  </a:lnTo>
                  <a:lnTo>
                    <a:pt x="257" y="139"/>
                  </a:lnTo>
                  <a:lnTo>
                    <a:pt x="258" y="154"/>
                  </a:lnTo>
                  <a:lnTo>
                    <a:pt x="259" y="169"/>
                  </a:lnTo>
                  <a:lnTo>
                    <a:pt x="258" y="190"/>
                  </a:lnTo>
                  <a:lnTo>
                    <a:pt x="258" y="198"/>
                  </a:lnTo>
                  <a:lnTo>
                    <a:pt x="257" y="200"/>
                  </a:lnTo>
                  <a:lnTo>
                    <a:pt x="255" y="207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02089" y="3694561"/>
              <a:ext cx="518915" cy="395496"/>
            </a:xfrm>
            <a:custGeom>
              <a:avLst/>
              <a:gdLst>
                <a:gd name="T0" fmla="*/ 799 w 884"/>
                <a:gd name="T1" fmla="*/ 629 h 670"/>
                <a:gd name="T2" fmla="*/ 721 w 884"/>
                <a:gd name="T3" fmla="*/ 668 h 670"/>
                <a:gd name="T4" fmla="*/ 638 w 884"/>
                <a:gd name="T5" fmla="*/ 657 h 670"/>
                <a:gd name="T6" fmla="*/ 558 w 884"/>
                <a:gd name="T7" fmla="*/ 641 h 670"/>
                <a:gd name="T8" fmla="*/ 491 w 884"/>
                <a:gd name="T9" fmla="*/ 618 h 670"/>
                <a:gd name="T10" fmla="*/ 410 w 884"/>
                <a:gd name="T11" fmla="*/ 564 h 670"/>
                <a:gd name="T12" fmla="*/ 331 w 884"/>
                <a:gd name="T13" fmla="*/ 556 h 670"/>
                <a:gd name="T14" fmla="*/ 248 w 884"/>
                <a:gd name="T15" fmla="*/ 544 h 670"/>
                <a:gd name="T16" fmla="*/ 168 w 884"/>
                <a:gd name="T17" fmla="*/ 535 h 670"/>
                <a:gd name="T18" fmla="*/ 87 w 884"/>
                <a:gd name="T19" fmla="*/ 530 h 670"/>
                <a:gd name="T20" fmla="*/ 25 w 884"/>
                <a:gd name="T21" fmla="*/ 484 h 670"/>
                <a:gd name="T22" fmla="*/ 80 w 884"/>
                <a:gd name="T23" fmla="*/ 411 h 670"/>
                <a:gd name="T24" fmla="*/ 25 w 884"/>
                <a:gd name="T25" fmla="*/ 383 h 670"/>
                <a:gd name="T26" fmla="*/ 18 w 884"/>
                <a:gd name="T27" fmla="*/ 380 h 670"/>
                <a:gd name="T28" fmla="*/ 20 w 884"/>
                <a:gd name="T29" fmla="*/ 375 h 670"/>
                <a:gd name="T30" fmla="*/ 28 w 884"/>
                <a:gd name="T31" fmla="*/ 339 h 670"/>
                <a:gd name="T32" fmla="*/ 37 w 884"/>
                <a:gd name="T33" fmla="*/ 297 h 670"/>
                <a:gd name="T34" fmla="*/ 26 w 884"/>
                <a:gd name="T35" fmla="*/ 254 h 670"/>
                <a:gd name="T36" fmla="*/ 17 w 884"/>
                <a:gd name="T37" fmla="*/ 205 h 670"/>
                <a:gd name="T38" fmla="*/ 21 w 884"/>
                <a:gd name="T39" fmla="*/ 188 h 670"/>
                <a:gd name="T40" fmla="*/ 33 w 884"/>
                <a:gd name="T41" fmla="*/ 179 h 670"/>
                <a:gd name="T42" fmla="*/ 47 w 884"/>
                <a:gd name="T43" fmla="*/ 177 h 670"/>
                <a:gd name="T44" fmla="*/ 79 w 884"/>
                <a:gd name="T45" fmla="*/ 183 h 670"/>
                <a:gd name="T46" fmla="*/ 113 w 884"/>
                <a:gd name="T47" fmla="*/ 184 h 670"/>
                <a:gd name="T48" fmla="*/ 146 w 884"/>
                <a:gd name="T49" fmla="*/ 175 h 670"/>
                <a:gd name="T50" fmla="*/ 184 w 884"/>
                <a:gd name="T51" fmla="*/ 191 h 670"/>
                <a:gd name="T52" fmla="*/ 203 w 884"/>
                <a:gd name="T53" fmla="*/ 180 h 670"/>
                <a:gd name="T54" fmla="*/ 214 w 884"/>
                <a:gd name="T55" fmla="*/ 160 h 670"/>
                <a:gd name="T56" fmla="*/ 227 w 884"/>
                <a:gd name="T57" fmla="*/ 114 h 670"/>
                <a:gd name="T58" fmla="*/ 232 w 884"/>
                <a:gd name="T59" fmla="*/ 62 h 670"/>
                <a:gd name="T60" fmla="*/ 242 w 884"/>
                <a:gd name="T61" fmla="*/ 51 h 670"/>
                <a:gd name="T62" fmla="*/ 269 w 884"/>
                <a:gd name="T63" fmla="*/ 5 h 670"/>
                <a:gd name="T64" fmla="*/ 349 w 884"/>
                <a:gd name="T65" fmla="*/ 12 h 670"/>
                <a:gd name="T66" fmla="*/ 414 w 884"/>
                <a:gd name="T67" fmla="*/ 83 h 670"/>
                <a:gd name="T68" fmla="*/ 493 w 884"/>
                <a:gd name="T69" fmla="*/ 116 h 670"/>
                <a:gd name="T70" fmla="*/ 553 w 884"/>
                <a:gd name="T71" fmla="*/ 111 h 670"/>
                <a:gd name="T72" fmla="*/ 633 w 884"/>
                <a:gd name="T73" fmla="*/ 150 h 670"/>
                <a:gd name="T74" fmla="*/ 688 w 884"/>
                <a:gd name="T75" fmla="*/ 122 h 670"/>
                <a:gd name="T76" fmla="*/ 760 w 884"/>
                <a:gd name="T77" fmla="*/ 189 h 670"/>
                <a:gd name="T78" fmla="*/ 794 w 884"/>
                <a:gd name="T79" fmla="*/ 261 h 670"/>
                <a:gd name="T80" fmla="*/ 855 w 884"/>
                <a:gd name="T81" fmla="*/ 318 h 670"/>
                <a:gd name="T82" fmla="*/ 882 w 884"/>
                <a:gd name="T83" fmla="*/ 318 h 670"/>
                <a:gd name="T84" fmla="*/ 878 w 884"/>
                <a:gd name="T85" fmla="*/ 367 h 670"/>
                <a:gd name="T86" fmla="*/ 872 w 884"/>
                <a:gd name="T87" fmla="*/ 409 h 670"/>
                <a:gd name="T88" fmla="*/ 866 w 884"/>
                <a:gd name="T89" fmla="*/ 426 h 670"/>
                <a:gd name="T90" fmla="*/ 847 w 884"/>
                <a:gd name="T91" fmla="*/ 439 h 670"/>
                <a:gd name="T92" fmla="*/ 816 w 884"/>
                <a:gd name="T93" fmla="*/ 456 h 670"/>
                <a:gd name="T94" fmla="*/ 787 w 884"/>
                <a:gd name="T95" fmla="*/ 477 h 670"/>
                <a:gd name="T96" fmla="*/ 777 w 884"/>
                <a:gd name="T97" fmla="*/ 494 h 670"/>
                <a:gd name="T98" fmla="*/ 778 w 884"/>
                <a:gd name="T99" fmla="*/ 509 h 670"/>
                <a:gd name="T100" fmla="*/ 788 w 884"/>
                <a:gd name="T101" fmla="*/ 526 h 670"/>
                <a:gd name="T102" fmla="*/ 809 w 884"/>
                <a:gd name="T103" fmla="*/ 544 h 670"/>
                <a:gd name="T104" fmla="*/ 828 w 884"/>
                <a:gd name="T105" fmla="*/ 558 h 670"/>
                <a:gd name="T106" fmla="*/ 840 w 884"/>
                <a:gd name="T107" fmla="*/ 581 h 670"/>
                <a:gd name="T108" fmla="*/ 843 w 884"/>
                <a:gd name="T109" fmla="*/ 621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4" h="670">
                  <a:moveTo>
                    <a:pt x="843" y="629"/>
                  </a:moveTo>
                  <a:lnTo>
                    <a:pt x="825" y="634"/>
                  </a:lnTo>
                  <a:lnTo>
                    <a:pt x="799" y="629"/>
                  </a:lnTo>
                  <a:lnTo>
                    <a:pt x="773" y="645"/>
                  </a:lnTo>
                  <a:lnTo>
                    <a:pt x="747" y="670"/>
                  </a:lnTo>
                  <a:lnTo>
                    <a:pt x="721" y="668"/>
                  </a:lnTo>
                  <a:lnTo>
                    <a:pt x="693" y="666"/>
                  </a:lnTo>
                  <a:lnTo>
                    <a:pt x="664" y="662"/>
                  </a:lnTo>
                  <a:lnTo>
                    <a:pt x="638" y="657"/>
                  </a:lnTo>
                  <a:lnTo>
                    <a:pt x="613" y="652"/>
                  </a:lnTo>
                  <a:lnTo>
                    <a:pt x="584" y="641"/>
                  </a:lnTo>
                  <a:lnTo>
                    <a:pt x="558" y="641"/>
                  </a:lnTo>
                  <a:lnTo>
                    <a:pt x="537" y="636"/>
                  </a:lnTo>
                  <a:lnTo>
                    <a:pt x="516" y="621"/>
                  </a:lnTo>
                  <a:lnTo>
                    <a:pt x="491" y="618"/>
                  </a:lnTo>
                  <a:lnTo>
                    <a:pt x="463" y="590"/>
                  </a:lnTo>
                  <a:lnTo>
                    <a:pt x="437" y="577"/>
                  </a:lnTo>
                  <a:lnTo>
                    <a:pt x="410" y="564"/>
                  </a:lnTo>
                  <a:lnTo>
                    <a:pt x="385" y="560"/>
                  </a:lnTo>
                  <a:lnTo>
                    <a:pt x="359" y="556"/>
                  </a:lnTo>
                  <a:lnTo>
                    <a:pt x="331" y="556"/>
                  </a:lnTo>
                  <a:lnTo>
                    <a:pt x="302" y="549"/>
                  </a:lnTo>
                  <a:lnTo>
                    <a:pt x="276" y="544"/>
                  </a:lnTo>
                  <a:lnTo>
                    <a:pt x="248" y="544"/>
                  </a:lnTo>
                  <a:lnTo>
                    <a:pt x="223" y="539"/>
                  </a:lnTo>
                  <a:lnTo>
                    <a:pt x="193" y="539"/>
                  </a:lnTo>
                  <a:lnTo>
                    <a:pt x="168" y="535"/>
                  </a:lnTo>
                  <a:lnTo>
                    <a:pt x="142" y="533"/>
                  </a:lnTo>
                  <a:lnTo>
                    <a:pt x="117" y="530"/>
                  </a:lnTo>
                  <a:lnTo>
                    <a:pt x="87" y="530"/>
                  </a:lnTo>
                  <a:lnTo>
                    <a:pt x="59" y="515"/>
                  </a:lnTo>
                  <a:lnTo>
                    <a:pt x="34" y="512"/>
                  </a:lnTo>
                  <a:lnTo>
                    <a:pt x="25" y="484"/>
                  </a:lnTo>
                  <a:lnTo>
                    <a:pt x="30" y="458"/>
                  </a:lnTo>
                  <a:lnTo>
                    <a:pt x="54" y="429"/>
                  </a:lnTo>
                  <a:lnTo>
                    <a:pt x="80" y="411"/>
                  </a:lnTo>
                  <a:lnTo>
                    <a:pt x="80" y="383"/>
                  </a:lnTo>
                  <a:lnTo>
                    <a:pt x="54" y="373"/>
                  </a:lnTo>
                  <a:lnTo>
                    <a:pt x="25" y="383"/>
                  </a:lnTo>
                  <a:lnTo>
                    <a:pt x="0" y="380"/>
                  </a:lnTo>
                  <a:lnTo>
                    <a:pt x="18" y="382"/>
                  </a:lnTo>
                  <a:lnTo>
                    <a:pt x="18" y="380"/>
                  </a:lnTo>
                  <a:lnTo>
                    <a:pt x="18" y="378"/>
                  </a:lnTo>
                  <a:lnTo>
                    <a:pt x="19" y="376"/>
                  </a:lnTo>
                  <a:lnTo>
                    <a:pt x="20" y="375"/>
                  </a:lnTo>
                  <a:lnTo>
                    <a:pt x="21" y="369"/>
                  </a:lnTo>
                  <a:lnTo>
                    <a:pt x="24" y="358"/>
                  </a:lnTo>
                  <a:lnTo>
                    <a:pt x="28" y="339"/>
                  </a:lnTo>
                  <a:lnTo>
                    <a:pt x="35" y="317"/>
                  </a:lnTo>
                  <a:lnTo>
                    <a:pt x="37" y="306"/>
                  </a:lnTo>
                  <a:lnTo>
                    <a:pt x="37" y="297"/>
                  </a:lnTo>
                  <a:lnTo>
                    <a:pt x="36" y="288"/>
                  </a:lnTo>
                  <a:lnTo>
                    <a:pt x="34" y="277"/>
                  </a:lnTo>
                  <a:lnTo>
                    <a:pt x="26" y="254"/>
                  </a:lnTo>
                  <a:lnTo>
                    <a:pt x="19" y="221"/>
                  </a:lnTo>
                  <a:lnTo>
                    <a:pt x="18" y="213"/>
                  </a:lnTo>
                  <a:lnTo>
                    <a:pt x="17" y="205"/>
                  </a:lnTo>
                  <a:lnTo>
                    <a:pt x="18" y="198"/>
                  </a:lnTo>
                  <a:lnTo>
                    <a:pt x="19" y="192"/>
                  </a:lnTo>
                  <a:lnTo>
                    <a:pt x="21" y="188"/>
                  </a:lnTo>
                  <a:lnTo>
                    <a:pt x="24" y="185"/>
                  </a:lnTo>
                  <a:lnTo>
                    <a:pt x="28" y="181"/>
                  </a:lnTo>
                  <a:lnTo>
                    <a:pt x="33" y="179"/>
                  </a:lnTo>
                  <a:lnTo>
                    <a:pt x="37" y="178"/>
                  </a:lnTo>
                  <a:lnTo>
                    <a:pt x="42" y="178"/>
                  </a:lnTo>
                  <a:lnTo>
                    <a:pt x="47" y="177"/>
                  </a:lnTo>
                  <a:lnTo>
                    <a:pt x="54" y="178"/>
                  </a:lnTo>
                  <a:lnTo>
                    <a:pt x="66" y="180"/>
                  </a:lnTo>
                  <a:lnTo>
                    <a:pt x="79" y="183"/>
                  </a:lnTo>
                  <a:lnTo>
                    <a:pt x="90" y="185"/>
                  </a:lnTo>
                  <a:lnTo>
                    <a:pt x="102" y="185"/>
                  </a:lnTo>
                  <a:lnTo>
                    <a:pt x="113" y="184"/>
                  </a:lnTo>
                  <a:lnTo>
                    <a:pt x="123" y="181"/>
                  </a:lnTo>
                  <a:lnTo>
                    <a:pt x="139" y="177"/>
                  </a:lnTo>
                  <a:lnTo>
                    <a:pt x="146" y="175"/>
                  </a:lnTo>
                  <a:lnTo>
                    <a:pt x="165" y="185"/>
                  </a:lnTo>
                  <a:lnTo>
                    <a:pt x="178" y="191"/>
                  </a:lnTo>
                  <a:lnTo>
                    <a:pt x="184" y="191"/>
                  </a:lnTo>
                  <a:lnTo>
                    <a:pt x="190" y="190"/>
                  </a:lnTo>
                  <a:lnTo>
                    <a:pt x="196" y="186"/>
                  </a:lnTo>
                  <a:lnTo>
                    <a:pt x="203" y="180"/>
                  </a:lnTo>
                  <a:lnTo>
                    <a:pt x="207" y="175"/>
                  </a:lnTo>
                  <a:lnTo>
                    <a:pt x="211" y="169"/>
                  </a:lnTo>
                  <a:lnTo>
                    <a:pt x="214" y="160"/>
                  </a:lnTo>
                  <a:lnTo>
                    <a:pt x="217" y="152"/>
                  </a:lnTo>
                  <a:lnTo>
                    <a:pt x="223" y="133"/>
                  </a:lnTo>
                  <a:lnTo>
                    <a:pt x="227" y="114"/>
                  </a:lnTo>
                  <a:lnTo>
                    <a:pt x="232" y="81"/>
                  </a:lnTo>
                  <a:lnTo>
                    <a:pt x="234" y="66"/>
                  </a:lnTo>
                  <a:lnTo>
                    <a:pt x="232" y="62"/>
                  </a:lnTo>
                  <a:lnTo>
                    <a:pt x="231" y="58"/>
                  </a:lnTo>
                  <a:lnTo>
                    <a:pt x="237" y="57"/>
                  </a:lnTo>
                  <a:lnTo>
                    <a:pt x="242" y="51"/>
                  </a:lnTo>
                  <a:lnTo>
                    <a:pt x="242" y="26"/>
                  </a:lnTo>
                  <a:lnTo>
                    <a:pt x="248" y="0"/>
                  </a:lnTo>
                  <a:lnTo>
                    <a:pt x="269" y="5"/>
                  </a:lnTo>
                  <a:lnTo>
                    <a:pt x="295" y="21"/>
                  </a:lnTo>
                  <a:lnTo>
                    <a:pt x="323" y="18"/>
                  </a:lnTo>
                  <a:lnTo>
                    <a:pt x="349" y="12"/>
                  </a:lnTo>
                  <a:lnTo>
                    <a:pt x="375" y="28"/>
                  </a:lnTo>
                  <a:lnTo>
                    <a:pt x="396" y="57"/>
                  </a:lnTo>
                  <a:lnTo>
                    <a:pt x="414" y="83"/>
                  </a:lnTo>
                  <a:lnTo>
                    <a:pt x="440" y="90"/>
                  </a:lnTo>
                  <a:lnTo>
                    <a:pt x="468" y="114"/>
                  </a:lnTo>
                  <a:lnTo>
                    <a:pt x="493" y="116"/>
                  </a:lnTo>
                  <a:lnTo>
                    <a:pt x="520" y="104"/>
                  </a:lnTo>
                  <a:lnTo>
                    <a:pt x="548" y="106"/>
                  </a:lnTo>
                  <a:lnTo>
                    <a:pt x="553" y="111"/>
                  </a:lnTo>
                  <a:lnTo>
                    <a:pt x="579" y="124"/>
                  </a:lnTo>
                  <a:lnTo>
                    <a:pt x="608" y="139"/>
                  </a:lnTo>
                  <a:lnTo>
                    <a:pt x="633" y="150"/>
                  </a:lnTo>
                  <a:lnTo>
                    <a:pt x="661" y="148"/>
                  </a:lnTo>
                  <a:lnTo>
                    <a:pt x="677" y="118"/>
                  </a:lnTo>
                  <a:lnTo>
                    <a:pt x="688" y="122"/>
                  </a:lnTo>
                  <a:lnTo>
                    <a:pt x="714" y="134"/>
                  </a:lnTo>
                  <a:lnTo>
                    <a:pt x="734" y="163"/>
                  </a:lnTo>
                  <a:lnTo>
                    <a:pt x="760" y="189"/>
                  </a:lnTo>
                  <a:lnTo>
                    <a:pt x="786" y="207"/>
                  </a:lnTo>
                  <a:lnTo>
                    <a:pt x="791" y="235"/>
                  </a:lnTo>
                  <a:lnTo>
                    <a:pt x="794" y="261"/>
                  </a:lnTo>
                  <a:lnTo>
                    <a:pt x="801" y="290"/>
                  </a:lnTo>
                  <a:lnTo>
                    <a:pt x="830" y="303"/>
                  </a:lnTo>
                  <a:lnTo>
                    <a:pt x="855" y="318"/>
                  </a:lnTo>
                  <a:lnTo>
                    <a:pt x="882" y="313"/>
                  </a:lnTo>
                  <a:lnTo>
                    <a:pt x="884" y="314"/>
                  </a:lnTo>
                  <a:lnTo>
                    <a:pt x="882" y="318"/>
                  </a:lnTo>
                  <a:lnTo>
                    <a:pt x="880" y="323"/>
                  </a:lnTo>
                  <a:lnTo>
                    <a:pt x="880" y="337"/>
                  </a:lnTo>
                  <a:lnTo>
                    <a:pt x="878" y="367"/>
                  </a:lnTo>
                  <a:lnTo>
                    <a:pt x="876" y="384"/>
                  </a:lnTo>
                  <a:lnTo>
                    <a:pt x="873" y="401"/>
                  </a:lnTo>
                  <a:lnTo>
                    <a:pt x="872" y="409"/>
                  </a:lnTo>
                  <a:lnTo>
                    <a:pt x="870" y="416"/>
                  </a:lnTo>
                  <a:lnTo>
                    <a:pt x="868" y="422"/>
                  </a:lnTo>
                  <a:lnTo>
                    <a:pt x="866" y="426"/>
                  </a:lnTo>
                  <a:lnTo>
                    <a:pt x="862" y="430"/>
                  </a:lnTo>
                  <a:lnTo>
                    <a:pt x="855" y="435"/>
                  </a:lnTo>
                  <a:lnTo>
                    <a:pt x="847" y="439"/>
                  </a:lnTo>
                  <a:lnTo>
                    <a:pt x="838" y="444"/>
                  </a:lnTo>
                  <a:lnTo>
                    <a:pt x="826" y="449"/>
                  </a:lnTo>
                  <a:lnTo>
                    <a:pt x="816" y="456"/>
                  </a:lnTo>
                  <a:lnTo>
                    <a:pt x="805" y="462"/>
                  </a:lnTo>
                  <a:lnTo>
                    <a:pt x="796" y="469"/>
                  </a:lnTo>
                  <a:lnTo>
                    <a:pt x="787" y="477"/>
                  </a:lnTo>
                  <a:lnTo>
                    <a:pt x="781" y="485"/>
                  </a:lnTo>
                  <a:lnTo>
                    <a:pt x="779" y="489"/>
                  </a:lnTo>
                  <a:lnTo>
                    <a:pt x="777" y="494"/>
                  </a:lnTo>
                  <a:lnTo>
                    <a:pt x="777" y="499"/>
                  </a:lnTo>
                  <a:lnTo>
                    <a:pt x="777" y="504"/>
                  </a:lnTo>
                  <a:lnTo>
                    <a:pt x="778" y="509"/>
                  </a:lnTo>
                  <a:lnTo>
                    <a:pt x="780" y="514"/>
                  </a:lnTo>
                  <a:lnTo>
                    <a:pt x="784" y="520"/>
                  </a:lnTo>
                  <a:lnTo>
                    <a:pt x="788" y="526"/>
                  </a:lnTo>
                  <a:lnTo>
                    <a:pt x="794" y="531"/>
                  </a:lnTo>
                  <a:lnTo>
                    <a:pt x="801" y="537"/>
                  </a:lnTo>
                  <a:lnTo>
                    <a:pt x="809" y="544"/>
                  </a:lnTo>
                  <a:lnTo>
                    <a:pt x="820" y="551"/>
                  </a:lnTo>
                  <a:lnTo>
                    <a:pt x="824" y="554"/>
                  </a:lnTo>
                  <a:lnTo>
                    <a:pt x="828" y="558"/>
                  </a:lnTo>
                  <a:lnTo>
                    <a:pt x="832" y="564"/>
                  </a:lnTo>
                  <a:lnTo>
                    <a:pt x="834" y="569"/>
                  </a:lnTo>
                  <a:lnTo>
                    <a:pt x="840" y="581"/>
                  </a:lnTo>
                  <a:lnTo>
                    <a:pt x="842" y="593"/>
                  </a:lnTo>
                  <a:lnTo>
                    <a:pt x="843" y="613"/>
                  </a:lnTo>
                  <a:lnTo>
                    <a:pt x="843" y="621"/>
                  </a:lnTo>
                  <a:lnTo>
                    <a:pt x="843" y="627"/>
                  </a:lnTo>
                  <a:lnTo>
                    <a:pt x="843" y="6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262626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162" name="Freeform 30"/>
            <p:cNvSpPr>
              <a:spLocks noEditPoints="1"/>
            </p:cNvSpPr>
            <p:nvPr/>
          </p:nvSpPr>
          <p:spPr bwMode="auto">
            <a:xfrm>
              <a:off x="2067814" y="3689610"/>
              <a:ext cx="319265" cy="231070"/>
            </a:xfrm>
            <a:custGeom>
              <a:avLst/>
              <a:gdLst>
                <a:gd name="T0" fmla="*/ 2147483647 w 545"/>
                <a:gd name="T1" fmla="*/ 2147483647 h 393"/>
                <a:gd name="T2" fmla="*/ 2147483647 w 545"/>
                <a:gd name="T3" fmla="*/ 2147483647 h 393"/>
                <a:gd name="T4" fmla="*/ 2147483647 w 545"/>
                <a:gd name="T5" fmla="*/ 2147483647 h 393"/>
                <a:gd name="T6" fmla="*/ 2147483647 w 545"/>
                <a:gd name="T7" fmla="*/ 2147483647 h 393"/>
                <a:gd name="T8" fmla="*/ 2147483647 w 545"/>
                <a:gd name="T9" fmla="*/ 2147483647 h 393"/>
                <a:gd name="T10" fmla="*/ 2147483647 w 545"/>
                <a:gd name="T11" fmla="*/ 2147483647 h 393"/>
                <a:gd name="T12" fmla="*/ 2147483647 w 545"/>
                <a:gd name="T13" fmla="*/ 2147483647 h 393"/>
                <a:gd name="T14" fmla="*/ 2147483647 w 545"/>
                <a:gd name="T15" fmla="*/ 2147483647 h 393"/>
                <a:gd name="T16" fmla="*/ 2147483647 w 545"/>
                <a:gd name="T17" fmla="*/ 2147483647 h 393"/>
                <a:gd name="T18" fmla="*/ 2147483647 w 545"/>
                <a:gd name="T19" fmla="*/ 2147483647 h 393"/>
                <a:gd name="T20" fmla="*/ 2147483647 w 545"/>
                <a:gd name="T21" fmla="*/ 2147483647 h 393"/>
                <a:gd name="T22" fmla="*/ 2147483647 w 545"/>
                <a:gd name="T23" fmla="*/ 2147483647 h 393"/>
                <a:gd name="T24" fmla="*/ 2147483647 w 545"/>
                <a:gd name="T25" fmla="*/ 2147483647 h 393"/>
                <a:gd name="T26" fmla="*/ 2147483647 w 545"/>
                <a:gd name="T27" fmla="*/ 2147483647 h 393"/>
                <a:gd name="T28" fmla="*/ 2147483647 w 545"/>
                <a:gd name="T29" fmla="*/ 2147483647 h 393"/>
                <a:gd name="T30" fmla="*/ 2147483647 w 545"/>
                <a:gd name="T31" fmla="*/ 2147483647 h 393"/>
                <a:gd name="T32" fmla="*/ 2147483647 w 545"/>
                <a:gd name="T33" fmla="*/ 0 h 393"/>
                <a:gd name="T34" fmla="*/ 2147483647 w 545"/>
                <a:gd name="T35" fmla="*/ 2147483647 h 393"/>
                <a:gd name="T36" fmla="*/ 2147483647 w 545"/>
                <a:gd name="T37" fmla="*/ 2147483647 h 393"/>
                <a:gd name="T38" fmla="*/ 2147483647 w 545"/>
                <a:gd name="T39" fmla="*/ 2147483647 h 393"/>
                <a:gd name="T40" fmla="*/ 2147483647 w 545"/>
                <a:gd name="T41" fmla="*/ 2147483647 h 393"/>
                <a:gd name="T42" fmla="*/ 2147483647 w 545"/>
                <a:gd name="T43" fmla="*/ 2147483647 h 393"/>
                <a:gd name="T44" fmla="*/ 2147483647 w 545"/>
                <a:gd name="T45" fmla="*/ 2147483647 h 393"/>
                <a:gd name="T46" fmla="*/ 2147483647 w 545"/>
                <a:gd name="T47" fmla="*/ 2147483647 h 393"/>
                <a:gd name="T48" fmla="*/ 2147483647 w 545"/>
                <a:gd name="T49" fmla="*/ 2147483647 h 393"/>
                <a:gd name="T50" fmla="*/ 2147483647 w 545"/>
                <a:gd name="T51" fmla="*/ 2147483647 h 393"/>
                <a:gd name="T52" fmla="*/ 2147483647 w 545"/>
                <a:gd name="T53" fmla="*/ 2147483647 h 393"/>
                <a:gd name="T54" fmla="*/ 2147483647 w 545"/>
                <a:gd name="T55" fmla="*/ 2147483647 h 393"/>
                <a:gd name="T56" fmla="*/ 2147483647 w 545"/>
                <a:gd name="T57" fmla="*/ 2147483647 h 393"/>
                <a:gd name="T58" fmla="*/ 2147483647 w 545"/>
                <a:gd name="T59" fmla="*/ 2147483647 h 393"/>
                <a:gd name="T60" fmla="*/ 2147483647 w 545"/>
                <a:gd name="T61" fmla="*/ 2147483647 h 393"/>
                <a:gd name="T62" fmla="*/ 2147483647 w 545"/>
                <a:gd name="T63" fmla="*/ 2147483647 h 393"/>
                <a:gd name="T64" fmla="*/ 2147483647 w 545"/>
                <a:gd name="T65" fmla="*/ 2147483647 h 393"/>
                <a:gd name="T66" fmla="*/ 2147483647 w 545"/>
                <a:gd name="T67" fmla="*/ 2147483647 h 393"/>
                <a:gd name="T68" fmla="*/ 2147483647 w 545"/>
                <a:gd name="T69" fmla="*/ 2147483647 h 393"/>
                <a:gd name="T70" fmla="*/ 2147483647 w 545"/>
                <a:gd name="T71" fmla="*/ 2147483647 h 393"/>
                <a:gd name="T72" fmla="*/ 2147483647 w 545"/>
                <a:gd name="T73" fmla="*/ 2147483647 h 393"/>
                <a:gd name="T74" fmla="*/ 2147483647 w 545"/>
                <a:gd name="T75" fmla="*/ 2147483647 h 393"/>
                <a:gd name="T76" fmla="*/ 2147483647 w 545"/>
                <a:gd name="T77" fmla="*/ 2147483647 h 393"/>
                <a:gd name="T78" fmla="*/ 2147483647 w 545"/>
                <a:gd name="T79" fmla="*/ 2147483647 h 393"/>
                <a:gd name="T80" fmla="*/ 2147483647 w 545"/>
                <a:gd name="T81" fmla="*/ 2147483647 h 393"/>
                <a:gd name="T82" fmla="*/ 2147483647 w 545"/>
                <a:gd name="T83" fmla="*/ 2147483647 h 393"/>
                <a:gd name="T84" fmla="*/ 2147483647 w 545"/>
                <a:gd name="T85" fmla="*/ 2147483647 h 393"/>
                <a:gd name="T86" fmla="*/ 2147483647 w 545"/>
                <a:gd name="T87" fmla="*/ 2147483647 h 393"/>
                <a:gd name="T88" fmla="*/ 2147483647 w 545"/>
                <a:gd name="T89" fmla="*/ 2147483647 h 393"/>
                <a:gd name="T90" fmla="*/ 2147483647 w 545"/>
                <a:gd name="T91" fmla="*/ 2147483647 h 393"/>
                <a:gd name="T92" fmla="*/ 2147483647 w 545"/>
                <a:gd name="T93" fmla="*/ 2147483647 h 393"/>
                <a:gd name="T94" fmla="*/ 2147483647 w 545"/>
                <a:gd name="T95" fmla="*/ 2147483647 h 393"/>
                <a:gd name="T96" fmla="*/ 2147483647 w 545"/>
                <a:gd name="T97" fmla="*/ 2147483647 h 393"/>
                <a:gd name="T98" fmla="*/ 2147483647 w 545"/>
                <a:gd name="T99" fmla="*/ 2147483647 h 3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393">
                  <a:moveTo>
                    <a:pt x="417" y="393"/>
                  </a:moveTo>
                  <a:lnTo>
                    <a:pt x="399" y="391"/>
                  </a:lnTo>
                  <a:lnTo>
                    <a:pt x="373" y="373"/>
                  </a:lnTo>
                  <a:lnTo>
                    <a:pt x="347" y="363"/>
                  </a:lnTo>
                  <a:lnTo>
                    <a:pt x="321" y="345"/>
                  </a:lnTo>
                  <a:lnTo>
                    <a:pt x="293" y="334"/>
                  </a:lnTo>
                  <a:lnTo>
                    <a:pt x="267" y="332"/>
                  </a:lnTo>
                  <a:lnTo>
                    <a:pt x="238" y="339"/>
                  </a:lnTo>
                  <a:lnTo>
                    <a:pt x="212" y="345"/>
                  </a:lnTo>
                  <a:lnTo>
                    <a:pt x="184" y="337"/>
                  </a:lnTo>
                  <a:lnTo>
                    <a:pt x="159" y="343"/>
                  </a:lnTo>
                  <a:lnTo>
                    <a:pt x="130" y="350"/>
                  </a:lnTo>
                  <a:lnTo>
                    <a:pt x="104" y="348"/>
                  </a:lnTo>
                  <a:lnTo>
                    <a:pt x="54" y="362"/>
                  </a:lnTo>
                  <a:lnTo>
                    <a:pt x="50" y="329"/>
                  </a:lnTo>
                  <a:lnTo>
                    <a:pt x="24" y="337"/>
                  </a:lnTo>
                  <a:lnTo>
                    <a:pt x="16" y="311"/>
                  </a:lnTo>
                  <a:lnTo>
                    <a:pt x="44" y="299"/>
                  </a:lnTo>
                  <a:lnTo>
                    <a:pt x="70" y="283"/>
                  </a:lnTo>
                  <a:lnTo>
                    <a:pt x="83" y="309"/>
                  </a:lnTo>
                  <a:lnTo>
                    <a:pt x="109" y="324"/>
                  </a:lnTo>
                  <a:lnTo>
                    <a:pt x="120" y="299"/>
                  </a:lnTo>
                  <a:lnTo>
                    <a:pt x="145" y="274"/>
                  </a:lnTo>
                  <a:lnTo>
                    <a:pt x="156" y="246"/>
                  </a:lnTo>
                  <a:lnTo>
                    <a:pt x="182" y="223"/>
                  </a:lnTo>
                  <a:lnTo>
                    <a:pt x="207" y="216"/>
                  </a:lnTo>
                  <a:lnTo>
                    <a:pt x="226" y="187"/>
                  </a:lnTo>
                  <a:lnTo>
                    <a:pt x="226" y="161"/>
                  </a:lnTo>
                  <a:lnTo>
                    <a:pt x="228" y="133"/>
                  </a:lnTo>
                  <a:lnTo>
                    <a:pt x="233" y="106"/>
                  </a:lnTo>
                  <a:lnTo>
                    <a:pt x="241" y="81"/>
                  </a:lnTo>
                  <a:lnTo>
                    <a:pt x="262" y="53"/>
                  </a:lnTo>
                  <a:lnTo>
                    <a:pt x="283" y="27"/>
                  </a:lnTo>
                  <a:lnTo>
                    <a:pt x="300" y="0"/>
                  </a:lnTo>
                  <a:lnTo>
                    <a:pt x="327" y="14"/>
                  </a:lnTo>
                  <a:lnTo>
                    <a:pt x="332" y="39"/>
                  </a:lnTo>
                  <a:lnTo>
                    <a:pt x="357" y="44"/>
                  </a:lnTo>
                  <a:lnTo>
                    <a:pt x="383" y="18"/>
                  </a:lnTo>
                  <a:lnTo>
                    <a:pt x="410" y="34"/>
                  </a:lnTo>
                  <a:lnTo>
                    <a:pt x="438" y="44"/>
                  </a:lnTo>
                  <a:lnTo>
                    <a:pt x="463" y="55"/>
                  </a:lnTo>
                  <a:lnTo>
                    <a:pt x="489" y="44"/>
                  </a:lnTo>
                  <a:lnTo>
                    <a:pt x="511" y="44"/>
                  </a:lnTo>
                  <a:lnTo>
                    <a:pt x="512" y="48"/>
                  </a:lnTo>
                  <a:lnTo>
                    <a:pt x="513" y="51"/>
                  </a:lnTo>
                  <a:lnTo>
                    <a:pt x="512" y="56"/>
                  </a:lnTo>
                  <a:lnTo>
                    <a:pt x="509" y="69"/>
                  </a:lnTo>
                  <a:lnTo>
                    <a:pt x="505" y="86"/>
                  </a:lnTo>
                  <a:lnTo>
                    <a:pt x="503" y="107"/>
                  </a:lnTo>
                  <a:lnTo>
                    <a:pt x="502" y="119"/>
                  </a:lnTo>
                  <a:lnTo>
                    <a:pt x="502" y="129"/>
                  </a:lnTo>
                  <a:lnTo>
                    <a:pt x="503" y="141"/>
                  </a:lnTo>
                  <a:lnTo>
                    <a:pt x="505" y="150"/>
                  </a:lnTo>
                  <a:lnTo>
                    <a:pt x="508" y="160"/>
                  </a:lnTo>
                  <a:lnTo>
                    <a:pt x="512" y="167"/>
                  </a:lnTo>
                  <a:lnTo>
                    <a:pt x="516" y="170"/>
                  </a:lnTo>
                  <a:lnTo>
                    <a:pt x="519" y="174"/>
                  </a:lnTo>
                  <a:lnTo>
                    <a:pt x="523" y="176"/>
                  </a:lnTo>
                  <a:lnTo>
                    <a:pt x="527" y="178"/>
                  </a:lnTo>
                  <a:lnTo>
                    <a:pt x="537" y="182"/>
                  </a:lnTo>
                  <a:lnTo>
                    <a:pt x="545" y="186"/>
                  </a:lnTo>
                  <a:lnTo>
                    <a:pt x="538" y="188"/>
                  </a:lnTo>
                  <a:lnTo>
                    <a:pt x="522" y="192"/>
                  </a:lnTo>
                  <a:lnTo>
                    <a:pt x="512" y="195"/>
                  </a:lnTo>
                  <a:lnTo>
                    <a:pt x="501" y="196"/>
                  </a:lnTo>
                  <a:lnTo>
                    <a:pt x="489" y="196"/>
                  </a:lnTo>
                  <a:lnTo>
                    <a:pt x="478" y="194"/>
                  </a:lnTo>
                  <a:lnTo>
                    <a:pt x="465" y="191"/>
                  </a:lnTo>
                  <a:lnTo>
                    <a:pt x="453" y="189"/>
                  </a:lnTo>
                  <a:lnTo>
                    <a:pt x="446" y="188"/>
                  </a:lnTo>
                  <a:lnTo>
                    <a:pt x="441" y="189"/>
                  </a:lnTo>
                  <a:lnTo>
                    <a:pt x="436" y="189"/>
                  </a:lnTo>
                  <a:lnTo>
                    <a:pt x="432" y="190"/>
                  </a:lnTo>
                  <a:lnTo>
                    <a:pt x="427" y="192"/>
                  </a:lnTo>
                  <a:lnTo>
                    <a:pt x="423" y="196"/>
                  </a:lnTo>
                  <a:lnTo>
                    <a:pt x="420" y="199"/>
                  </a:lnTo>
                  <a:lnTo>
                    <a:pt x="418" y="203"/>
                  </a:lnTo>
                  <a:lnTo>
                    <a:pt x="417" y="209"/>
                  </a:lnTo>
                  <a:lnTo>
                    <a:pt x="416" y="216"/>
                  </a:lnTo>
                  <a:lnTo>
                    <a:pt x="417" y="224"/>
                  </a:lnTo>
                  <a:lnTo>
                    <a:pt x="418" y="232"/>
                  </a:lnTo>
                  <a:lnTo>
                    <a:pt x="425" y="265"/>
                  </a:lnTo>
                  <a:lnTo>
                    <a:pt x="433" y="288"/>
                  </a:lnTo>
                  <a:lnTo>
                    <a:pt x="435" y="299"/>
                  </a:lnTo>
                  <a:lnTo>
                    <a:pt x="436" y="308"/>
                  </a:lnTo>
                  <a:lnTo>
                    <a:pt x="436" y="317"/>
                  </a:lnTo>
                  <a:lnTo>
                    <a:pt x="434" y="328"/>
                  </a:lnTo>
                  <a:lnTo>
                    <a:pt x="427" y="350"/>
                  </a:lnTo>
                  <a:lnTo>
                    <a:pt x="423" y="369"/>
                  </a:lnTo>
                  <a:lnTo>
                    <a:pt x="420" y="380"/>
                  </a:lnTo>
                  <a:lnTo>
                    <a:pt x="419" y="386"/>
                  </a:lnTo>
                  <a:lnTo>
                    <a:pt x="418" y="387"/>
                  </a:lnTo>
                  <a:lnTo>
                    <a:pt x="417" y="389"/>
                  </a:lnTo>
                  <a:lnTo>
                    <a:pt x="417" y="391"/>
                  </a:lnTo>
                  <a:lnTo>
                    <a:pt x="417" y="393"/>
                  </a:lnTo>
                  <a:close/>
                  <a:moveTo>
                    <a:pt x="29" y="228"/>
                  </a:moveTo>
                  <a:lnTo>
                    <a:pt x="29" y="257"/>
                  </a:lnTo>
                  <a:lnTo>
                    <a:pt x="5" y="283"/>
                  </a:lnTo>
                  <a:lnTo>
                    <a:pt x="0" y="254"/>
                  </a:lnTo>
                  <a:lnTo>
                    <a:pt x="21" y="228"/>
                  </a:lnTo>
                  <a:lnTo>
                    <a:pt x="29" y="228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3" name="Freeform 31"/>
            <p:cNvSpPr>
              <a:spLocks/>
            </p:cNvSpPr>
            <p:nvPr/>
          </p:nvSpPr>
          <p:spPr bwMode="auto">
            <a:xfrm>
              <a:off x="2362385" y="3714305"/>
              <a:ext cx="77611" cy="93487"/>
            </a:xfrm>
            <a:custGeom>
              <a:avLst/>
              <a:gdLst>
                <a:gd name="T0" fmla="*/ 2147483647 w 131"/>
                <a:gd name="T1" fmla="*/ 0 h 158"/>
                <a:gd name="T2" fmla="*/ 2147483647 w 131"/>
                <a:gd name="T3" fmla="*/ 0 h 158"/>
                <a:gd name="T4" fmla="*/ 2147483647 w 131"/>
                <a:gd name="T5" fmla="*/ 2147483647 h 158"/>
                <a:gd name="T6" fmla="*/ 2147483647 w 131"/>
                <a:gd name="T7" fmla="*/ 2147483647 h 158"/>
                <a:gd name="T8" fmla="*/ 2147483647 w 131"/>
                <a:gd name="T9" fmla="*/ 2147483647 h 158"/>
                <a:gd name="T10" fmla="*/ 2147483647 w 131"/>
                <a:gd name="T11" fmla="*/ 2147483647 h 158"/>
                <a:gd name="T12" fmla="*/ 2147483647 w 131"/>
                <a:gd name="T13" fmla="*/ 2147483647 h 158"/>
                <a:gd name="T14" fmla="*/ 2147483647 w 131"/>
                <a:gd name="T15" fmla="*/ 2147483647 h 158"/>
                <a:gd name="T16" fmla="*/ 2147483647 w 131"/>
                <a:gd name="T17" fmla="*/ 2147483647 h 158"/>
                <a:gd name="T18" fmla="*/ 2147483647 w 131"/>
                <a:gd name="T19" fmla="*/ 2147483647 h 158"/>
                <a:gd name="T20" fmla="*/ 2147483647 w 131"/>
                <a:gd name="T21" fmla="*/ 2147483647 h 158"/>
                <a:gd name="T22" fmla="*/ 2147483647 w 131"/>
                <a:gd name="T23" fmla="*/ 2147483647 h 158"/>
                <a:gd name="T24" fmla="*/ 2147483647 w 131"/>
                <a:gd name="T25" fmla="*/ 2147483647 h 158"/>
                <a:gd name="T26" fmla="*/ 2147483647 w 131"/>
                <a:gd name="T27" fmla="*/ 2147483647 h 158"/>
                <a:gd name="T28" fmla="*/ 2147483647 w 131"/>
                <a:gd name="T29" fmla="*/ 2147483647 h 158"/>
                <a:gd name="T30" fmla="*/ 2147483647 w 131"/>
                <a:gd name="T31" fmla="*/ 2147483647 h 158"/>
                <a:gd name="T32" fmla="*/ 2147483647 w 131"/>
                <a:gd name="T33" fmla="*/ 2147483647 h 158"/>
                <a:gd name="T34" fmla="*/ 2147483647 w 131"/>
                <a:gd name="T35" fmla="*/ 2147483647 h 158"/>
                <a:gd name="T36" fmla="*/ 2147483647 w 131"/>
                <a:gd name="T37" fmla="*/ 2147483647 h 158"/>
                <a:gd name="T38" fmla="*/ 2147483647 w 131"/>
                <a:gd name="T39" fmla="*/ 2147483647 h 158"/>
                <a:gd name="T40" fmla="*/ 2147483647 w 131"/>
                <a:gd name="T41" fmla="*/ 2147483647 h 158"/>
                <a:gd name="T42" fmla="*/ 2147483647 w 131"/>
                <a:gd name="T43" fmla="*/ 2147483647 h 158"/>
                <a:gd name="T44" fmla="*/ 2147483647 w 131"/>
                <a:gd name="T45" fmla="*/ 2147483647 h 158"/>
                <a:gd name="T46" fmla="*/ 2147483647 w 131"/>
                <a:gd name="T47" fmla="*/ 2147483647 h 158"/>
                <a:gd name="T48" fmla="*/ 2147483647 w 131"/>
                <a:gd name="T49" fmla="*/ 2147483647 h 158"/>
                <a:gd name="T50" fmla="*/ 2147483647 w 131"/>
                <a:gd name="T51" fmla="*/ 2147483647 h 158"/>
                <a:gd name="T52" fmla="*/ 2147483647 w 131"/>
                <a:gd name="T53" fmla="*/ 2147483647 h 158"/>
                <a:gd name="T54" fmla="*/ 2147483647 w 131"/>
                <a:gd name="T55" fmla="*/ 2147483647 h 158"/>
                <a:gd name="T56" fmla="*/ 2147483647 w 131"/>
                <a:gd name="T57" fmla="*/ 2147483647 h 158"/>
                <a:gd name="T58" fmla="*/ 2147483647 w 131"/>
                <a:gd name="T59" fmla="*/ 2147483647 h 158"/>
                <a:gd name="T60" fmla="*/ 2147483647 w 131"/>
                <a:gd name="T61" fmla="*/ 2147483647 h 158"/>
                <a:gd name="T62" fmla="*/ 2147483647 w 131"/>
                <a:gd name="T63" fmla="*/ 2147483647 h 158"/>
                <a:gd name="T64" fmla="*/ 2147483647 w 131"/>
                <a:gd name="T65" fmla="*/ 2147483647 h 158"/>
                <a:gd name="T66" fmla="*/ 2147483647 w 131"/>
                <a:gd name="T67" fmla="*/ 2147483647 h 158"/>
                <a:gd name="T68" fmla="*/ 0 w 131"/>
                <a:gd name="T69" fmla="*/ 2147483647 h 158"/>
                <a:gd name="T70" fmla="*/ 0 w 131"/>
                <a:gd name="T71" fmla="*/ 2147483647 h 158"/>
                <a:gd name="T72" fmla="*/ 2147483647 w 131"/>
                <a:gd name="T73" fmla="*/ 2147483647 h 158"/>
                <a:gd name="T74" fmla="*/ 2147483647 w 131"/>
                <a:gd name="T75" fmla="*/ 2147483647 h 158"/>
                <a:gd name="T76" fmla="*/ 2147483647 w 131"/>
                <a:gd name="T77" fmla="*/ 2147483647 h 158"/>
                <a:gd name="T78" fmla="*/ 2147483647 w 131"/>
                <a:gd name="T79" fmla="*/ 2147483647 h 158"/>
                <a:gd name="T80" fmla="*/ 2147483647 w 131"/>
                <a:gd name="T81" fmla="*/ 2147483647 h 158"/>
                <a:gd name="T82" fmla="*/ 2147483647 w 131"/>
                <a:gd name="T83" fmla="*/ 2147483647 h 158"/>
                <a:gd name="T84" fmla="*/ 2147483647 w 131"/>
                <a:gd name="T85" fmla="*/ 0 h 15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31" h="158">
                  <a:moveTo>
                    <a:pt x="9" y="0"/>
                  </a:moveTo>
                  <a:lnTo>
                    <a:pt x="16" y="0"/>
                  </a:lnTo>
                  <a:lnTo>
                    <a:pt x="42" y="16"/>
                  </a:lnTo>
                  <a:lnTo>
                    <a:pt x="54" y="32"/>
                  </a:lnTo>
                  <a:lnTo>
                    <a:pt x="81" y="34"/>
                  </a:lnTo>
                  <a:lnTo>
                    <a:pt x="109" y="27"/>
                  </a:lnTo>
                  <a:lnTo>
                    <a:pt x="128" y="25"/>
                  </a:lnTo>
                  <a:lnTo>
                    <a:pt x="129" y="29"/>
                  </a:lnTo>
                  <a:lnTo>
                    <a:pt x="131" y="33"/>
                  </a:lnTo>
                  <a:lnTo>
                    <a:pt x="129" y="48"/>
                  </a:lnTo>
                  <a:lnTo>
                    <a:pt x="124" y="81"/>
                  </a:lnTo>
                  <a:lnTo>
                    <a:pt x="120" y="100"/>
                  </a:lnTo>
                  <a:lnTo>
                    <a:pt x="114" y="119"/>
                  </a:lnTo>
                  <a:lnTo>
                    <a:pt x="111" y="127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7"/>
                  </a:lnTo>
                  <a:lnTo>
                    <a:pt x="95" y="151"/>
                  </a:lnTo>
                  <a:lnTo>
                    <a:pt x="92" y="154"/>
                  </a:lnTo>
                  <a:lnTo>
                    <a:pt x="88" y="156"/>
                  </a:lnTo>
                  <a:lnTo>
                    <a:pt x="85" y="158"/>
                  </a:lnTo>
                  <a:lnTo>
                    <a:pt x="82" y="158"/>
                  </a:lnTo>
                  <a:lnTo>
                    <a:pt x="78" y="158"/>
                  </a:lnTo>
                  <a:lnTo>
                    <a:pt x="74" y="157"/>
                  </a:lnTo>
                  <a:lnTo>
                    <a:pt x="71" y="156"/>
                  </a:lnTo>
                  <a:lnTo>
                    <a:pt x="52" y="147"/>
                  </a:lnTo>
                  <a:lnTo>
                    <a:pt x="25" y="134"/>
                  </a:lnTo>
                  <a:lnTo>
                    <a:pt x="21" y="132"/>
                  </a:lnTo>
                  <a:lnTo>
                    <a:pt x="17" y="130"/>
                  </a:lnTo>
                  <a:lnTo>
                    <a:pt x="14" y="126"/>
                  </a:lnTo>
                  <a:lnTo>
                    <a:pt x="10" y="123"/>
                  </a:lnTo>
                  <a:lnTo>
                    <a:pt x="6" y="116"/>
                  </a:lnTo>
                  <a:lnTo>
                    <a:pt x="3" y="106"/>
                  </a:lnTo>
                  <a:lnTo>
                    <a:pt x="1" y="97"/>
                  </a:lnTo>
                  <a:lnTo>
                    <a:pt x="0" y="85"/>
                  </a:lnTo>
                  <a:lnTo>
                    <a:pt x="0" y="75"/>
                  </a:lnTo>
                  <a:lnTo>
                    <a:pt x="1" y="63"/>
                  </a:lnTo>
                  <a:lnTo>
                    <a:pt x="3" y="42"/>
                  </a:lnTo>
                  <a:lnTo>
                    <a:pt x="7" y="25"/>
                  </a:lnTo>
                  <a:lnTo>
                    <a:pt x="10" y="12"/>
                  </a:lnTo>
                  <a:lnTo>
                    <a:pt x="11" y="7"/>
                  </a:lnTo>
                  <a:lnTo>
                    <a:pt x="10" y="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4" name="Freeform 32"/>
            <p:cNvSpPr>
              <a:spLocks noEditPoints="1"/>
            </p:cNvSpPr>
            <p:nvPr/>
          </p:nvSpPr>
          <p:spPr bwMode="auto">
            <a:xfrm>
              <a:off x="3988695" y="4144694"/>
              <a:ext cx="259293" cy="164043"/>
            </a:xfrm>
            <a:custGeom>
              <a:avLst/>
              <a:gdLst>
                <a:gd name="T0" fmla="*/ 2147483647 w 439"/>
                <a:gd name="T1" fmla="*/ 2147483647 h 281"/>
                <a:gd name="T2" fmla="*/ 2147483647 w 439"/>
                <a:gd name="T3" fmla="*/ 2147483647 h 281"/>
                <a:gd name="T4" fmla="*/ 2147483647 w 439"/>
                <a:gd name="T5" fmla="*/ 2147483647 h 281"/>
                <a:gd name="T6" fmla="*/ 2147483647 w 439"/>
                <a:gd name="T7" fmla="*/ 2147483647 h 281"/>
                <a:gd name="T8" fmla="*/ 2147483647 w 439"/>
                <a:gd name="T9" fmla="*/ 2147483647 h 281"/>
                <a:gd name="T10" fmla="*/ 2147483647 w 439"/>
                <a:gd name="T11" fmla="*/ 2147483647 h 281"/>
                <a:gd name="T12" fmla="*/ 2147483647 w 439"/>
                <a:gd name="T13" fmla="*/ 2147483647 h 281"/>
                <a:gd name="T14" fmla="*/ 2147483647 w 439"/>
                <a:gd name="T15" fmla="*/ 2147483647 h 281"/>
                <a:gd name="T16" fmla="*/ 2147483647 w 439"/>
                <a:gd name="T17" fmla="*/ 2147483647 h 281"/>
                <a:gd name="T18" fmla="*/ 2147483647 w 439"/>
                <a:gd name="T19" fmla="*/ 0 h 281"/>
                <a:gd name="T20" fmla="*/ 2147483647 w 439"/>
                <a:gd name="T21" fmla="*/ 0 h 281"/>
                <a:gd name="T22" fmla="*/ 2147483647 w 439"/>
                <a:gd name="T23" fmla="*/ 2147483647 h 281"/>
                <a:gd name="T24" fmla="*/ 2147483647 w 439"/>
                <a:gd name="T25" fmla="*/ 2147483647 h 281"/>
                <a:gd name="T26" fmla="*/ 2147483647 w 439"/>
                <a:gd name="T27" fmla="*/ 2147483647 h 281"/>
                <a:gd name="T28" fmla="*/ 2147483647 w 439"/>
                <a:gd name="T29" fmla="*/ 2147483647 h 281"/>
                <a:gd name="T30" fmla="*/ 2147483647 w 439"/>
                <a:gd name="T31" fmla="*/ 2147483647 h 281"/>
                <a:gd name="T32" fmla="*/ 2147483647 w 439"/>
                <a:gd name="T33" fmla="*/ 2147483647 h 281"/>
                <a:gd name="T34" fmla="*/ 2147483647 w 439"/>
                <a:gd name="T35" fmla="*/ 2147483647 h 281"/>
                <a:gd name="T36" fmla="*/ 2147483647 w 439"/>
                <a:gd name="T37" fmla="*/ 2147483647 h 281"/>
                <a:gd name="T38" fmla="*/ 2147483647 w 439"/>
                <a:gd name="T39" fmla="*/ 2147483647 h 281"/>
                <a:gd name="T40" fmla="*/ 2147483647 w 439"/>
                <a:gd name="T41" fmla="*/ 2147483647 h 281"/>
                <a:gd name="T42" fmla="*/ 2147483647 w 439"/>
                <a:gd name="T43" fmla="*/ 2147483647 h 281"/>
                <a:gd name="T44" fmla="*/ 2147483647 w 439"/>
                <a:gd name="T45" fmla="*/ 2147483647 h 281"/>
                <a:gd name="T46" fmla="*/ 2147483647 w 439"/>
                <a:gd name="T47" fmla="*/ 2147483647 h 281"/>
                <a:gd name="T48" fmla="*/ 2147483647 w 439"/>
                <a:gd name="T49" fmla="*/ 2147483647 h 281"/>
                <a:gd name="T50" fmla="*/ 2147483647 w 439"/>
                <a:gd name="T51" fmla="*/ 2147483647 h 281"/>
                <a:gd name="T52" fmla="*/ 2147483647 w 439"/>
                <a:gd name="T53" fmla="*/ 2147483647 h 281"/>
                <a:gd name="T54" fmla="*/ 2147483647 w 439"/>
                <a:gd name="T55" fmla="*/ 2147483647 h 281"/>
                <a:gd name="T56" fmla="*/ 2147483647 w 439"/>
                <a:gd name="T57" fmla="*/ 2147483647 h 281"/>
                <a:gd name="T58" fmla="*/ 2147483647 w 439"/>
                <a:gd name="T59" fmla="*/ 2147483647 h 281"/>
                <a:gd name="T60" fmla="*/ 2147483647 w 439"/>
                <a:gd name="T61" fmla="*/ 2147483647 h 281"/>
                <a:gd name="T62" fmla="*/ 2147483647 w 439"/>
                <a:gd name="T63" fmla="*/ 2147483647 h 281"/>
                <a:gd name="T64" fmla="*/ 2147483647 w 439"/>
                <a:gd name="T65" fmla="*/ 2147483647 h 281"/>
                <a:gd name="T66" fmla="*/ 2147483647 w 439"/>
                <a:gd name="T67" fmla="*/ 2147483647 h 281"/>
                <a:gd name="T68" fmla="*/ 2147483647 w 439"/>
                <a:gd name="T69" fmla="*/ 2147483647 h 281"/>
                <a:gd name="T70" fmla="*/ 2147483647 w 439"/>
                <a:gd name="T71" fmla="*/ 2147483647 h 281"/>
                <a:gd name="T72" fmla="*/ 2147483647 w 439"/>
                <a:gd name="T73" fmla="*/ 2147483647 h 281"/>
                <a:gd name="T74" fmla="*/ 2147483647 w 439"/>
                <a:gd name="T75" fmla="*/ 2147483647 h 281"/>
                <a:gd name="T76" fmla="*/ 2147483647 w 439"/>
                <a:gd name="T77" fmla="*/ 2147483647 h 281"/>
                <a:gd name="T78" fmla="*/ 2147483647 w 439"/>
                <a:gd name="T79" fmla="*/ 2147483647 h 281"/>
                <a:gd name="T80" fmla="*/ 0 w 439"/>
                <a:gd name="T81" fmla="*/ 2147483647 h 281"/>
                <a:gd name="T82" fmla="*/ 2147483647 w 439"/>
                <a:gd name="T83" fmla="*/ 2147483647 h 281"/>
                <a:gd name="T84" fmla="*/ 2147483647 w 439"/>
                <a:gd name="T85" fmla="*/ 2147483647 h 281"/>
                <a:gd name="T86" fmla="*/ 2147483647 w 439"/>
                <a:gd name="T87" fmla="*/ 2147483647 h 281"/>
                <a:gd name="T88" fmla="*/ 2147483647 w 439"/>
                <a:gd name="T89" fmla="*/ 2147483647 h 281"/>
                <a:gd name="T90" fmla="*/ 2147483647 w 439"/>
                <a:gd name="T91" fmla="*/ 2147483647 h 281"/>
                <a:gd name="T92" fmla="*/ 2147483647 w 439"/>
                <a:gd name="T93" fmla="*/ 2147483647 h 281"/>
                <a:gd name="T94" fmla="*/ 2147483647 w 439"/>
                <a:gd name="T95" fmla="*/ 2147483647 h 28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39" h="281">
                  <a:moveTo>
                    <a:pt x="8" y="9"/>
                  </a:moveTo>
                  <a:lnTo>
                    <a:pt x="28" y="23"/>
                  </a:lnTo>
                  <a:lnTo>
                    <a:pt x="54" y="21"/>
                  </a:lnTo>
                  <a:lnTo>
                    <a:pt x="83" y="27"/>
                  </a:lnTo>
                  <a:lnTo>
                    <a:pt x="109" y="37"/>
                  </a:lnTo>
                  <a:lnTo>
                    <a:pt x="134" y="44"/>
                  </a:lnTo>
                  <a:lnTo>
                    <a:pt x="162" y="42"/>
                  </a:lnTo>
                  <a:lnTo>
                    <a:pt x="191" y="42"/>
                  </a:lnTo>
                  <a:lnTo>
                    <a:pt x="217" y="23"/>
                  </a:lnTo>
                  <a:lnTo>
                    <a:pt x="243" y="0"/>
                  </a:lnTo>
                  <a:lnTo>
                    <a:pt x="272" y="0"/>
                  </a:lnTo>
                  <a:lnTo>
                    <a:pt x="297" y="11"/>
                  </a:lnTo>
                  <a:lnTo>
                    <a:pt x="326" y="21"/>
                  </a:lnTo>
                  <a:lnTo>
                    <a:pt x="351" y="32"/>
                  </a:lnTo>
                  <a:lnTo>
                    <a:pt x="380" y="48"/>
                  </a:lnTo>
                  <a:lnTo>
                    <a:pt x="403" y="73"/>
                  </a:lnTo>
                  <a:lnTo>
                    <a:pt x="429" y="97"/>
                  </a:lnTo>
                  <a:lnTo>
                    <a:pt x="439" y="122"/>
                  </a:lnTo>
                  <a:lnTo>
                    <a:pt x="413" y="148"/>
                  </a:lnTo>
                  <a:lnTo>
                    <a:pt x="388" y="159"/>
                  </a:lnTo>
                  <a:lnTo>
                    <a:pt x="362" y="177"/>
                  </a:lnTo>
                  <a:lnTo>
                    <a:pt x="333" y="184"/>
                  </a:lnTo>
                  <a:lnTo>
                    <a:pt x="307" y="198"/>
                  </a:lnTo>
                  <a:lnTo>
                    <a:pt x="287" y="226"/>
                  </a:lnTo>
                  <a:lnTo>
                    <a:pt x="277" y="251"/>
                  </a:lnTo>
                  <a:lnTo>
                    <a:pt x="261" y="278"/>
                  </a:lnTo>
                  <a:lnTo>
                    <a:pt x="254" y="281"/>
                  </a:lnTo>
                  <a:lnTo>
                    <a:pt x="227" y="278"/>
                  </a:lnTo>
                  <a:lnTo>
                    <a:pt x="233" y="262"/>
                  </a:lnTo>
                  <a:lnTo>
                    <a:pt x="254" y="237"/>
                  </a:lnTo>
                  <a:lnTo>
                    <a:pt x="238" y="210"/>
                  </a:lnTo>
                  <a:lnTo>
                    <a:pt x="212" y="182"/>
                  </a:lnTo>
                  <a:lnTo>
                    <a:pt x="187" y="159"/>
                  </a:lnTo>
                  <a:lnTo>
                    <a:pt x="157" y="140"/>
                  </a:lnTo>
                  <a:lnTo>
                    <a:pt x="132" y="130"/>
                  </a:lnTo>
                  <a:lnTo>
                    <a:pt x="104" y="120"/>
                  </a:lnTo>
                  <a:lnTo>
                    <a:pt x="77" y="117"/>
                  </a:lnTo>
                  <a:lnTo>
                    <a:pt x="49" y="115"/>
                  </a:lnTo>
                  <a:lnTo>
                    <a:pt x="26" y="86"/>
                  </a:lnTo>
                  <a:lnTo>
                    <a:pt x="8" y="60"/>
                  </a:lnTo>
                  <a:lnTo>
                    <a:pt x="0" y="34"/>
                  </a:lnTo>
                  <a:lnTo>
                    <a:pt x="8" y="9"/>
                  </a:lnTo>
                  <a:close/>
                  <a:moveTo>
                    <a:pt x="399" y="265"/>
                  </a:moveTo>
                  <a:lnTo>
                    <a:pt x="372" y="251"/>
                  </a:lnTo>
                  <a:lnTo>
                    <a:pt x="365" y="226"/>
                  </a:lnTo>
                  <a:lnTo>
                    <a:pt x="390" y="216"/>
                  </a:lnTo>
                  <a:lnTo>
                    <a:pt x="408" y="244"/>
                  </a:lnTo>
                  <a:lnTo>
                    <a:pt x="399" y="265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5" name="Freeform 33"/>
            <p:cNvSpPr>
              <a:spLocks/>
            </p:cNvSpPr>
            <p:nvPr/>
          </p:nvSpPr>
          <p:spPr bwMode="auto">
            <a:xfrm>
              <a:off x="3748806" y="4225833"/>
              <a:ext cx="15876" cy="10583"/>
            </a:xfrm>
            <a:custGeom>
              <a:avLst/>
              <a:gdLst>
                <a:gd name="T0" fmla="*/ 2147483647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0 h 18"/>
                <a:gd name="T6" fmla="*/ 0 w 27"/>
                <a:gd name="T7" fmla="*/ 2147483647 h 18"/>
                <a:gd name="T8" fmla="*/ 2147483647 w 27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8">
                  <a:moveTo>
                    <a:pt x="2" y="18"/>
                  </a:moveTo>
                  <a:lnTo>
                    <a:pt x="6" y="18"/>
                  </a:lnTo>
                  <a:lnTo>
                    <a:pt x="27" y="0"/>
                  </a:lnTo>
                  <a:lnTo>
                    <a:pt x="0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6" name="Freeform 34"/>
            <p:cNvSpPr>
              <a:spLocks noEditPoints="1"/>
            </p:cNvSpPr>
            <p:nvPr/>
          </p:nvSpPr>
          <p:spPr bwMode="auto">
            <a:xfrm>
              <a:off x="704323" y="2287316"/>
              <a:ext cx="652641" cy="869599"/>
            </a:xfrm>
            <a:custGeom>
              <a:avLst/>
              <a:gdLst>
                <a:gd name="T0" fmla="*/ 2147483647 w 1111"/>
                <a:gd name="T1" fmla="*/ 2147483647 h 1478"/>
                <a:gd name="T2" fmla="*/ 2147483647 w 1111"/>
                <a:gd name="T3" fmla="*/ 2147483647 h 1478"/>
                <a:gd name="T4" fmla="*/ 2147483647 w 1111"/>
                <a:gd name="T5" fmla="*/ 2147483647 h 1478"/>
                <a:gd name="T6" fmla="*/ 2147483647 w 1111"/>
                <a:gd name="T7" fmla="*/ 2147483647 h 1478"/>
                <a:gd name="T8" fmla="*/ 2147483647 w 1111"/>
                <a:gd name="T9" fmla="*/ 2147483647 h 1478"/>
                <a:gd name="T10" fmla="*/ 2147483647 w 1111"/>
                <a:gd name="T11" fmla="*/ 2147483647 h 1478"/>
                <a:gd name="T12" fmla="*/ 2147483647 w 1111"/>
                <a:gd name="T13" fmla="*/ 2147483647 h 1478"/>
                <a:gd name="T14" fmla="*/ 2147483647 w 1111"/>
                <a:gd name="T15" fmla="*/ 2147483647 h 1478"/>
                <a:gd name="T16" fmla="*/ 2147483647 w 1111"/>
                <a:gd name="T17" fmla="*/ 2147483647 h 1478"/>
                <a:gd name="T18" fmla="*/ 2147483647 w 1111"/>
                <a:gd name="T19" fmla="*/ 2147483647 h 1478"/>
                <a:gd name="T20" fmla="*/ 2147483647 w 1111"/>
                <a:gd name="T21" fmla="*/ 2147483647 h 1478"/>
                <a:gd name="T22" fmla="*/ 2147483647 w 1111"/>
                <a:gd name="T23" fmla="*/ 2147483647 h 1478"/>
                <a:gd name="T24" fmla="*/ 2147483647 w 1111"/>
                <a:gd name="T25" fmla="*/ 2147483647 h 1478"/>
                <a:gd name="T26" fmla="*/ 2147483647 w 1111"/>
                <a:gd name="T27" fmla="*/ 2147483647 h 1478"/>
                <a:gd name="T28" fmla="*/ 2147483647 w 1111"/>
                <a:gd name="T29" fmla="*/ 2147483647 h 1478"/>
                <a:gd name="T30" fmla="*/ 2147483647 w 1111"/>
                <a:gd name="T31" fmla="*/ 2147483647 h 1478"/>
                <a:gd name="T32" fmla="*/ 2147483647 w 1111"/>
                <a:gd name="T33" fmla="*/ 2147483647 h 1478"/>
                <a:gd name="T34" fmla="*/ 2147483647 w 1111"/>
                <a:gd name="T35" fmla="*/ 2147483647 h 1478"/>
                <a:gd name="T36" fmla="*/ 2147483647 w 1111"/>
                <a:gd name="T37" fmla="*/ 2147483647 h 1478"/>
                <a:gd name="T38" fmla="*/ 2147483647 w 1111"/>
                <a:gd name="T39" fmla="*/ 2147483647 h 1478"/>
                <a:gd name="T40" fmla="*/ 2147483647 w 1111"/>
                <a:gd name="T41" fmla="*/ 2147483647 h 1478"/>
                <a:gd name="T42" fmla="*/ 2147483647 w 1111"/>
                <a:gd name="T43" fmla="*/ 2147483647 h 1478"/>
                <a:gd name="T44" fmla="*/ 2147483647 w 1111"/>
                <a:gd name="T45" fmla="*/ 2147483647 h 1478"/>
                <a:gd name="T46" fmla="*/ 2147483647 w 1111"/>
                <a:gd name="T47" fmla="*/ 2147483647 h 1478"/>
                <a:gd name="T48" fmla="*/ 2147483647 w 1111"/>
                <a:gd name="T49" fmla="*/ 2147483647 h 1478"/>
                <a:gd name="T50" fmla="*/ 2147483647 w 1111"/>
                <a:gd name="T51" fmla="*/ 2147483647 h 1478"/>
                <a:gd name="T52" fmla="*/ 2147483647 w 1111"/>
                <a:gd name="T53" fmla="*/ 2147483647 h 1478"/>
                <a:gd name="T54" fmla="*/ 2147483647 w 1111"/>
                <a:gd name="T55" fmla="*/ 2147483647 h 1478"/>
                <a:gd name="T56" fmla="*/ 2147483647 w 1111"/>
                <a:gd name="T57" fmla="*/ 2147483647 h 1478"/>
                <a:gd name="T58" fmla="*/ 2147483647 w 1111"/>
                <a:gd name="T59" fmla="*/ 2147483647 h 1478"/>
                <a:gd name="T60" fmla="*/ 2147483647 w 1111"/>
                <a:gd name="T61" fmla="*/ 2147483647 h 1478"/>
                <a:gd name="T62" fmla="*/ 2147483647 w 1111"/>
                <a:gd name="T63" fmla="*/ 2147483647 h 1478"/>
                <a:gd name="T64" fmla="*/ 2147483647 w 1111"/>
                <a:gd name="T65" fmla="*/ 2147483647 h 1478"/>
                <a:gd name="T66" fmla="*/ 2147483647 w 1111"/>
                <a:gd name="T67" fmla="*/ 2147483647 h 1478"/>
                <a:gd name="T68" fmla="*/ 2147483647 w 1111"/>
                <a:gd name="T69" fmla="*/ 2147483647 h 1478"/>
                <a:gd name="T70" fmla="*/ 2147483647 w 1111"/>
                <a:gd name="T71" fmla="*/ 2147483647 h 1478"/>
                <a:gd name="T72" fmla="*/ 2147483647 w 1111"/>
                <a:gd name="T73" fmla="*/ 2147483647 h 1478"/>
                <a:gd name="T74" fmla="*/ 2147483647 w 1111"/>
                <a:gd name="T75" fmla="*/ 2147483647 h 1478"/>
                <a:gd name="T76" fmla="*/ 2147483647 w 1111"/>
                <a:gd name="T77" fmla="*/ 2147483647 h 1478"/>
                <a:gd name="T78" fmla="*/ 2147483647 w 1111"/>
                <a:gd name="T79" fmla="*/ 2147483647 h 1478"/>
                <a:gd name="T80" fmla="*/ 2147483647 w 1111"/>
                <a:gd name="T81" fmla="*/ 2147483647 h 1478"/>
                <a:gd name="T82" fmla="*/ 2147483647 w 1111"/>
                <a:gd name="T83" fmla="*/ 2147483647 h 1478"/>
                <a:gd name="T84" fmla="*/ 2147483647 w 1111"/>
                <a:gd name="T85" fmla="*/ 2147483647 h 1478"/>
                <a:gd name="T86" fmla="*/ 2147483647 w 1111"/>
                <a:gd name="T87" fmla="*/ 2147483647 h 1478"/>
                <a:gd name="T88" fmla="*/ 2147483647 w 1111"/>
                <a:gd name="T89" fmla="*/ 2147483647 h 1478"/>
                <a:gd name="T90" fmla="*/ 2147483647 w 1111"/>
                <a:gd name="T91" fmla="*/ 2147483647 h 1478"/>
                <a:gd name="T92" fmla="*/ 2147483647 w 1111"/>
                <a:gd name="T93" fmla="*/ 2147483647 h 1478"/>
                <a:gd name="T94" fmla="*/ 2147483647 w 1111"/>
                <a:gd name="T95" fmla="*/ 2147483647 h 1478"/>
                <a:gd name="T96" fmla="*/ 2147483647 w 1111"/>
                <a:gd name="T97" fmla="*/ 2147483647 h 1478"/>
                <a:gd name="T98" fmla="*/ 2147483647 w 1111"/>
                <a:gd name="T99" fmla="*/ 2147483647 h 1478"/>
                <a:gd name="T100" fmla="*/ 2147483647 w 1111"/>
                <a:gd name="T101" fmla="*/ 2147483647 h 1478"/>
                <a:gd name="T102" fmla="*/ 2147483647 w 1111"/>
                <a:gd name="T103" fmla="*/ 2147483647 h 1478"/>
                <a:gd name="T104" fmla="*/ 2147483647 w 1111"/>
                <a:gd name="T105" fmla="*/ 2147483647 h 1478"/>
                <a:gd name="T106" fmla="*/ 2147483647 w 1111"/>
                <a:gd name="T107" fmla="*/ 2147483647 h 1478"/>
                <a:gd name="T108" fmla="*/ 2147483647 w 1111"/>
                <a:gd name="T109" fmla="*/ 2147483647 h 1478"/>
                <a:gd name="T110" fmla="*/ 2147483647 w 1111"/>
                <a:gd name="T111" fmla="*/ 2147483647 h 1478"/>
                <a:gd name="T112" fmla="*/ 2147483647 w 1111"/>
                <a:gd name="T113" fmla="*/ 2147483647 h 1478"/>
                <a:gd name="T114" fmla="*/ 2147483647 w 1111"/>
                <a:gd name="T115" fmla="*/ 2147483647 h 147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11" h="1478">
                  <a:moveTo>
                    <a:pt x="873" y="1206"/>
                  </a:moveTo>
                  <a:lnTo>
                    <a:pt x="853" y="1180"/>
                  </a:lnTo>
                  <a:lnTo>
                    <a:pt x="848" y="1172"/>
                  </a:lnTo>
                  <a:lnTo>
                    <a:pt x="832" y="1146"/>
                  </a:lnTo>
                  <a:lnTo>
                    <a:pt x="811" y="1121"/>
                  </a:lnTo>
                  <a:lnTo>
                    <a:pt x="800" y="1095"/>
                  </a:lnTo>
                  <a:lnTo>
                    <a:pt x="786" y="1069"/>
                  </a:lnTo>
                  <a:lnTo>
                    <a:pt x="798" y="1040"/>
                  </a:lnTo>
                  <a:lnTo>
                    <a:pt x="804" y="1014"/>
                  </a:lnTo>
                  <a:lnTo>
                    <a:pt x="798" y="989"/>
                  </a:lnTo>
                  <a:lnTo>
                    <a:pt x="786" y="960"/>
                  </a:lnTo>
                  <a:lnTo>
                    <a:pt x="762" y="934"/>
                  </a:lnTo>
                  <a:lnTo>
                    <a:pt x="747" y="906"/>
                  </a:lnTo>
                  <a:lnTo>
                    <a:pt x="726" y="879"/>
                  </a:lnTo>
                  <a:lnTo>
                    <a:pt x="719" y="854"/>
                  </a:lnTo>
                  <a:lnTo>
                    <a:pt x="703" y="825"/>
                  </a:lnTo>
                  <a:lnTo>
                    <a:pt x="692" y="800"/>
                  </a:lnTo>
                  <a:lnTo>
                    <a:pt x="692" y="771"/>
                  </a:lnTo>
                  <a:lnTo>
                    <a:pt x="664" y="758"/>
                  </a:lnTo>
                  <a:lnTo>
                    <a:pt x="646" y="732"/>
                  </a:lnTo>
                  <a:lnTo>
                    <a:pt x="620" y="706"/>
                  </a:lnTo>
                  <a:lnTo>
                    <a:pt x="638" y="678"/>
                  </a:lnTo>
                  <a:lnTo>
                    <a:pt x="617" y="652"/>
                  </a:lnTo>
                  <a:lnTo>
                    <a:pt x="613" y="623"/>
                  </a:lnTo>
                  <a:lnTo>
                    <a:pt x="602" y="597"/>
                  </a:lnTo>
                  <a:lnTo>
                    <a:pt x="579" y="569"/>
                  </a:lnTo>
                  <a:lnTo>
                    <a:pt x="553" y="546"/>
                  </a:lnTo>
                  <a:lnTo>
                    <a:pt x="532" y="517"/>
                  </a:lnTo>
                  <a:lnTo>
                    <a:pt x="516" y="491"/>
                  </a:lnTo>
                  <a:lnTo>
                    <a:pt x="493" y="463"/>
                  </a:lnTo>
                  <a:lnTo>
                    <a:pt x="477" y="452"/>
                  </a:lnTo>
                  <a:lnTo>
                    <a:pt x="452" y="429"/>
                  </a:lnTo>
                  <a:lnTo>
                    <a:pt x="426" y="409"/>
                  </a:lnTo>
                  <a:lnTo>
                    <a:pt x="424" y="383"/>
                  </a:lnTo>
                  <a:lnTo>
                    <a:pt x="403" y="354"/>
                  </a:lnTo>
                  <a:lnTo>
                    <a:pt x="410" y="328"/>
                  </a:lnTo>
                  <a:lnTo>
                    <a:pt x="390" y="303"/>
                  </a:lnTo>
                  <a:lnTo>
                    <a:pt x="364" y="277"/>
                  </a:lnTo>
                  <a:lnTo>
                    <a:pt x="338" y="261"/>
                  </a:lnTo>
                  <a:lnTo>
                    <a:pt x="309" y="248"/>
                  </a:lnTo>
                  <a:lnTo>
                    <a:pt x="281" y="245"/>
                  </a:lnTo>
                  <a:lnTo>
                    <a:pt x="260" y="220"/>
                  </a:lnTo>
                  <a:lnTo>
                    <a:pt x="235" y="225"/>
                  </a:lnTo>
                  <a:lnTo>
                    <a:pt x="206" y="215"/>
                  </a:lnTo>
                  <a:lnTo>
                    <a:pt x="197" y="215"/>
                  </a:lnTo>
                  <a:lnTo>
                    <a:pt x="193" y="215"/>
                  </a:lnTo>
                  <a:lnTo>
                    <a:pt x="193" y="213"/>
                  </a:lnTo>
                  <a:lnTo>
                    <a:pt x="197" y="212"/>
                  </a:lnTo>
                  <a:lnTo>
                    <a:pt x="204" y="202"/>
                  </a:lnTo>
                  <a:lnTo>
                    <a:pt x="224" y="177"/>
                  </a:lnTo>
                  <a:lnTo>
                    <a:pt x="236" y="162"/>
                  </a:lnTo>
                  <a:lnTo>
                    <a:pt x="249" y="146"/>
                  </a:lnTo>
                  <a:lnTo>
                    <a:pt x="264" y="132"/>
                  </a:lnTo>
                  <a:lnTo>
                    <a:pt x="278" y="119"/>
                  </a:lnTo>
                  <a:lnTo>
                    <a:pt x="284" y="114"/>
                  </a:lnTo>
                  <a:lnTo>
                    <a:pt x="290" y="110"/>
                  </a:lnTo>
                  <a:lnTo>
                    <a:pt x="297" y="108"/>
                  </a:lnTo>
                  <a:lnTo>
                    <a:pt x="303" y="106"/>
                  </a:lnTo>
                  <a:lnTo>
                    <a:pt x="309" y="106"/>
                  </a:lnTo>
                  <a:lnTo>
                    <a:pt x="314" y="106"/>
                  </a:lnTo>
                  <a:lnTo>
                    <a:pt x="321" y="107"/>
                  </a:lnTo>
                  <a:lnTo>
                    <a:pt x="327" y="109"/>
                  </a:lnTo>
                  <a:lnTo>
                    <a:pt x="341" y="113"/>
                  </a:lnTo>
                  <a:lnTo>
                    <a:pt x="354" y="119"/>
                  </a:lnTo>
                  <a:lnTo>
                    <a:pt x="371" y="124"/>
                  </a:lnTo>
                  <a:lnTo>
                    <a:pt x="389" y="129"/>
                  </a:lnTo>
                  <a:lnTo>
                    <a:pt x="398" y="131"/>
                  </a:lnTo>
                  <a:lnTo>
                    <a:pt x="407" y="131"/>
                  </a:lnTo>
                  <a:lnTo>
                    <a:pt x="414" y="131"/>
                  </a:lnTo>
                  <a:lnTo>
                    <a:pt x="420" y="129"/>
                  </a:lnTo>
                  <a:lnTo>
                    <a:pt x="426" y="125"/>
                  </a:lnTo>
                  <a:lnTo>
                    <a:pt x="430" y="122"/>
                  </a:lnTo>
                  <a:lnTo>
                    <a:pt x="433" y="118"/>
                  </a:lnTo>
                  <a:lnTo>
                    <a:pt x="435" y="113"/>
                  </a:lnTo>
                  <a:lnTo>
                    <a:pt x="436" y="107"/>
                  </a:lnTo>
                  <a:lnTo>
                    <a:pt x="436" y="100"/>
                  </a:lnTo>
                  <a:lnTo>
                    <a:pt x="434" y="93"/>
                  </a:lnTo>
                  <a:lnTo>
                    <a:pt x="431" y="85"/>
                  </a:lnTo>
                  <a:lnTo>
                    <a:pt x="427" y="76"/>
                  </a:lnTo>
                  <a:lnTo>
                    <a:pt x="420" y="67"/>
                  </a:lnTo>
                  <a:lnTo>
                    <a:pt x="413" y="56"/>
                  </a:lnTo>
                  <a:lnTo>
                    <a:pt x="405" y="47"/>
                  </a:lnTo>
                  <a:lnTo>
                    <a:pt x="396" y="36"/>
                  </a:lnTo>
                  <a:lnTo>
                    <a:pt x="391" y="28"/>
                  </a:lnTo>
                  <a:lnTo>
                    <a:pt x="388" y="20"/>
                  </a:lnTo>
                  <a:lnTo>
                    <a:pt x="388" y="15"/>
                  </a:lnTo>
                  <a:lnTo>
                    <a:pt x="389" y="11"/>
                  </a:lnTo>
                  <a:lnTo>
                    <a:pt x="392" y="7"/>
                  </a:lnTo>
                  <a:lnTo>
                    <a:pt x="396" y="5"/>
                  </a:lnTo>
                  <a:lnTo>
                    <a:pt x="402" y="3"/>
                  </a:lnTo>
                  <a:lnTo>
                    <a:pt x="414" y="2"/>
                  </a:lnTo>
                  <a:lnTo>
                    <a:pt x="426" y="0"/>
                  </a:lnTo>
                  <a:lnTo>
                    <a:pt x="434" y="2"/>
                  </a:lnTo>
                  <a:lnTo>
                    <a:pt x="438" y="3"/>
                  </a:lnTo>
                  <a:lnTo>
                    <a:pt x="532" y="38"/>
                  </a:lnTo>
                  <a:lnTo>
                    <a:pt x="535" y="39"/>
                  </a:lnTo>
                  <a:lnTo>
                    <a:pt x="540" y="39"/>
                  </a:lnTo>
                  <a:lnTo>
                    <a:pt x="539" y="58"/>
                  </a:lnTo>
                  <a:lnTo>
                    <a:pt x="537" y="73"/>
                  </a:lnTo>
                  <a:lnTo>
                    <a:pt x="537" y="82"/>
                  </a:lnTo>
                  <a:lnTo>
                    <a:pt x="537" y="86"/>
                  </a:lnTo>
                  <a:lnTo>
                    <a:pt x="537" y="88"/>
                  </a:lnTo>
                  <a:lnTo>
                    <a:pt x="538" y="94"/>
                  </a:lnTo>
                  <a:lnTo>
                    <a:pt x="541" y="102"/>
                  </a:lnTo>
                  <a:lnTo>
                    <a:pt x="545" y="112"/>
                  </a:lnTo>
                  <a:lnTo>
                    <a:pt x="550" y="117"/>
                  </a:lnTo>
                  <a:lnTo>
                    <a:pt x="554" y="122"/>
                  </a:lnTo>
                  <a:lnTo>
                    <a:pt x="558" y="128"/>
                  </a:lnTo>
                  <a:lnTo>
                    <a:pt x="564" y="133"/>
                  </a:lnTo>
                  <a:lnTo>
                    <a:pt x="571" y="138"/>
                  </a:lnTo>
                  <a:lnTo>
                    <a:pt x="578" y="142"/>
                  </a:lnTo>
                  <a:lnTo>
                    <a:pt x="586" y="145"/>
                  </a:lnTo>
                  <a:lnTo>
                    <a:pt x="596" y="149"/>
                  </a:lnTo>
                  <a:lnTo>
                    <a:pt x="605" y="150"/>
                  </a:lnTo>
                  <a:lnTo>
                    <a:pt x="614" y="151"/>
                  </a:lnTo>
                  <a:lnTo>
                    <a:pt x="620" y="152"/>
                  </a:lnTo>
                  <a:lnTo>
                    <a:pt x="625" y="151"/>
                  </a:lnTo>
                  <a:lnTo>
                    <a:pt x="632" y="149"/>
                  </a:lnTo>
                  <a:lnTo>
                    <a:pt x="639" y="146"/>
                  </a:lnTo>
                  <a:lnTo>
                    <a:pt x="641" y="145"/>
                  </a:lnTo>
                  <a:lnTo>
                    <a:pt x="644" y="144"/>
                  </a:lnTo>
                  <a:lnTo>
                    <a:pt x="646" y="144"/>
                  </a:lnTo>
                  <a:lnTo>
                    <a:pt x="649" y="144"/>
                  </a:lnTo>
                  <a:lnTo>
                    <a:pt x="659" y="148"/>
                  </a:lnTo>
                  <a:lnTo>
                    <a:pt x="671" y="156"/>
                  </a:lnTo>
                  <a:lnTo>
                    <a:pt x="702" y="178"/>
                  </a:lnTo>
                  <a:lnTo>
                    <a:pt x="728" y="200"/>
                  </a:lnTo>
                  <a:lnTo>
                    <a:pt x="747" y="217"/>
                  </a:lnTo>
                  <a:lnTo>
                    <a:pt x="754" y="223"/>
                  </a:lnTo>
                  <a:lnTo>
                    <a:pt x="758" y="228"/>
                  </a:lnTo>
                  <a:lnTo>
                    <a:pt x="768" y="241"/>
                  </a:lnTo>
                  <a:lnTo>
                    <a:pt x="771" y="251"/>
                  </a:lnTo>
                  <a:lnTo>
                    <a:pt x="774" y="263"/>
                  </a:lnTo>
                  <a:lnTo>
                    <a:pt x="774" y="269"/>
                  </a:lnTo>
                  <a:lnTo>
                    <a:pt x="773" y="276"/>
                  </a:lnTo>
                  <a:lnTo>
                    <a:pt x="772" y="283"/>
                  </a:lnTo>
                  <a:lnTo>
                    <a:pt x="770" y="290"/>
                  </a:lnTo>
                  <a:lnTo>
                    <a:pt x="765" y="305"/>
                  </a:lnTo>
                  <a:lnTo>
                    <a:pt x="759" y="317"/>
                  </a:lnTo>
                  <a:lnTo>
                    <a:pt x="756" y="327"/>
                  </a:lnTo>
                  <a:lnTo>
                    <a:pt x="755" y="337"/>
                  </a:lnTo>
                  <a:lnTo>
                    <a:pt x="756" y="346"/>
                  </a:lnTo>
                  <a:lnTo>
                    <a:pt x="758" y="356"/>
                  </a:lnTo>
                  <a:lnTo>
                    <a:pt x="764" y="369"/>
                  </a:lnTo>
                  <a:lnTo>
                    <a:pt x="772" y="384"/>
                  </a:lnTo>
                  <a:lnTo>
                    <a:pt x="785" y="403"/>
                  </a:lnTo>
                  <a:lnTo>
                    <a:pt x="800" y="425"/>
                  </a:lnTo>
                  <a:lnTo>
                    <a:pt x="820" y="448"/>
                  </a:lnTo>
                  <a:lnTo>
                    <a:pt x="840" y="471"/>
                  </a:lnTo>
                  <a:lnTo>
                    <a:pt x="861" y="494"/>
                  </a:lnTo>
                  <a:lnTo>
                    <a:pt x="880" y="514"/>
                  </a:lnTo>
                  <a:lnTo>
                    <a:pt x="896" y="530"/>
                  </a:lnTo>
                  <a:lnTo>
                    <a:pt x="906" y="539"/>
                  </a:lnTo>
                  <a:lnTo>
                    <a:pt x="915" y="548"/>
                  </a:lnTo>
                  <a:lnTo>
                    <a:pt x="923" y="557"/>
                  </a:lnTo>
                  <a:lnTo>
                    <a:pt x="931" y="568"/>
                  </a:lnTo>
                  <a:lnTo>
                    <a:pt x="939" y="578"/>
                  </a:lnTo>
                  <a:lnTo>
                    <a:pt x="948" y="589"/>
                  </a:lnTo>
                  <a:lnTo>
                    <a:pt x="958" y="599"/>
                  </a:lnTo>
                  <a:lnTo>
                    <a:pt x="964" y="603"/>
                  </a:lnTo>
                  <a:lnTo>
                    <a:pt x="970" y="607"/>
                  </a:lnTo>
                  <a:lnTo>
                    <a:pt x="977" y="612"/>
                  </a:lnTo>
                  <a:lnTo>
                    <a:pt x="985" y="615"/>
                  </a:lnTo>
                  <a:lnTo>
                    <a:pt x="1015" y="624"/>
                  </a:lnTo>
                  <a:lnTo>
                    <a:pt x="1040" y="632"/>
                  </a:lnTo>
                  <a:lnTo>
                    <a:pt x="1051" y="635"/>
                  </a:lnTo>
                  <a:lnTo>
                    <a:pt x="1062" y="639"/>
                  </a:lnTo>
                  <a:lnTo>
                    <a:pt x="1070" y="643"/>
                  </a:lnTo>
                  <a:lnTo>
                    <a:pt x="1078" y="648"/>
                  </a:lnTo>
                  <a:lnTo>
                    <a:pt x="1090" y="659"/>
                  </a:lnTo>
                  <a:lnTo>
                    <a:pt x="1100" y="668"/>
                  </a:lnTo>
                  <a:lnTo>
                    <a:pt x="1107" y="675"/>
                  </a:lnTo>
                  <a:lnTo>
                    <a:pt x="1111" y="679"/>
                  </a:lnTo>
                  <a:lnTo>
                    <a:pt x="1109" y="681"/>
                  </a:lnTo>
                  <a:lnTo>
                    <a:pt x="1109" y="682"/>
                  </a:lnTo>
                  <a:lnTo>
                    <a:pt x="1104" y="690"/>
                  </a:lnTo>
                  <a:lnTo>
                    <a:pt x="1091" y="712"/>
                  </a:lnTo>
                  <a:lnTo>
                    <a:pt x="1083" y="725"/>
                  </a:lnTo>
                  <a:lnTo>
                    <a:pt x="1074" y="738"/>
                  </a:lnTo>
                  <a:lnTo>
                    <a:pt x="1064" y="749"/>
                  </a:lnTo>
                  <a:lnTo>
                    <a:pt x="1054" y="760"/>
                  </a:lnTo>
                  <a:lnTo>
                    <a:pt x="1049" y="766"/>
                  </a:lnTo>
                  <a:lnTo>
                    <a:pt x="1043" y="773"/>
                  </a:lnTo>
                  <a:lnTo>
                    <a:pt x="1037" y="784"/>
                  </a:lnTo>
                  <a:lnTo>
                    <a:pt x="1030" y="797"/>
                  </a:lnTo>
                  <a:lnTo>
                    <a:pt x="1015" y="825"/>
                  </a:lnTo>
                  <a:lnTo>
                    <a:pt x="1000" y="857"/>
                  </a:lnTo>
                  <a:lnTo>
                    <a:pt x="985" y="890"/>
                  </a:lnTo>
                  <a:lnTo>
                    <a:pt x="974" y="920"/>
                  </a:lnTo>
                  <a:lnTo>
                    <a:pt x="964" y="947"/>
                  </a:lnTo>
                  <a:lnTo>
                    <a:pt x="959" y="965"/>
                  </a:lnTo>
                  <a:lnTo>
                    <a:pt x="955" y="979"/>
                  </a:lnTo>
                  <a:lnTo>
                    <a:pt x="951" y="997"/>
                  </a:lnTo>
                  <a:lnTo>
                    <a:pt x="946" y="1017"/>
                  </a:lnTo>
                  <a:lnTo>
                    <a:pt x="943" y="1036"/>
                  </a:lnTo>
                  <a:lnTo>
                    <a:pt x="943" y="1046"/>
                  </a:lnTo>
                  <a:lnTo>
                    <a:pt x="944" y="1056"/>
                  </a:lnTo>
                  <a:lnTo>
                    <a:pt x="945" y="1065"/>
                  </a:lnTo>
                  <a:lnTo>
                    <a:pt x="948" y="1074"/>
                  </a:lnTo>
                  <a:lnTo>
                    <a:pt x="953" y="1082"/>
                  </a:lnTo>
                  <a:lnTo>
                    <a:pt x="959" y="1090"/>
                  </a:lnTo>
                  <a:lnTo>
                    <a:pt x="966" y="1096"/>
                  </a:lnTo>
                  <a:lnTo>
                    <a:pt x="976" y="1101"/>
                  </a:lnTo>
                  <a:lnTo>
                    <a:pt x="975" y="1101"/>
                  </a:lnTo>
                  <a:lnTo>
                    <a:pt x="974" y="1102"/>
                  </a:lnTo>
                  <a:lnTo>
                    <a:pt x="964" y="1104"/>
                  </a:lnTo>
                  <a:lnTo>
                    <a:pt x="942" y="1111"/>
                  </a:lnTo>
                  <a:lnTo>
                    <a:pt x="930" y="1116"/>
                  </a:lnTo>
                  <a:lnTo>
                    <a:pt x="916" y="1122"/>
                  </a:lnTo>
                  <a:lnTo>
                    <a:pt x="904" y="1128"/>
                  </a:lnTo>
                  <a:lnTo>
                    <a:pt x="894" y="1136"/>
                  </a:lnTo>
                  <a:lnTo>
                    <a:pt x="878" y="1151"/>
                  </a:lnTo>
                  <a:lnTo>
                    <a:pt x="868" y="1165"/>
                  </a:lnTo>
                  <a:lnTo>
                    <a:pt x="860" y="1176"/>
                  </a:lnTo>
                  <a:lnTo>
                    <a:pt x="858" y="1180"/>
                  </a:lnTo>
                  <a:lnTo>
                    <a:pt x="857" y="1182"/>
                  </a:lnTo>
                  <a:lnTo>
                    <a:pt x="856" y="1184"/>
                  </a:lnTo>
                  <a:lnTo>
                    <a:pt x="873" y="1206"/>
                  </a:lnTo>
                  <a:close/>
                  <a:moveTo>
                    <a:pt x="493" y="1240"/>
                  </a:moveTo>
                  <a:lnTo>
                    <a:pt x="493" y="1281"/>
                  </a:lnTo>
                  <a:lnTo>
                    <a:pt x="503" y="1304"/>
                  </a:lnTo>
                  <a:lnTo>
                    <a:pt x="530" y="1298"/>
                  </a:lnTo>
                  <a:lnTo>
                    <a:pt x="555" y="1279"/>
                  </a:lnTo>
                  <a:lnTo>
                    <a:pt x="565" y="1252"/>
                  </a:lnTo>
                  <a:lnTo>
                    <a:pt x="540" y="1224"/>
                  </a:lnTo>
                  <a:lnTo>
                    <a:pt x="514" y="1208"/>
                  </a:lnTo>
                  <a:lnTo>
                    <a:pt x="493" y="1182"/>
                  </a:lnTo>
                  <a:lnTo>
                    <a:pt x="480" y="1187"/>
                  </a:lnTo>
                  <a:lnTo>
                    <a:pt x="482" y="1213"/>
                  </a:lnTo>
                  <a:lnTo>
                    <a:pt x="493" y="1240"/>
                  </a:lnTo>
                  <a:close/>
                  <a:moveTo>
                    <a:pt x="441" y="1141"/>
                  </a:moveTo>
                  <a:lnTo>
                    <a:pt x="415" y="1128"/>
                  </a:lnTo>
                  <a:lnTo>
                    <a:pt x="390" y="1118"/>
                  </a:lnTo>
                  <a:lnTo>
                    <a:pt x="362" y="1102"/>
                  </a:lnTo>
                  <a:lnTo>
                    <a:pt x="335" y="1076"/>
                  </a:lnTo>
                  <a:lnTo>
                    <a:pt x="338" y="1047"/>
                  </a:lnTo>
                  <a:lnTo>
                    <a:pt x="335" y="1022"/>
                  </a:lnTo>
                  <a:lnTo>
                    <a:pt x="362" y="1014"/>
                  </a:lnTo>
                  <a:lnTo>
                    <a:pt x="387" y="1040"/>
                  </a:lnTo>
                  <a:lnTo>
                    <a:pt x="397" y="1069"/>
                  </a:lnTo>
                  <a:lnTo>
                    <a:pt x="413" y="1095"/>
                  </a:lnTo>
                  <a:lnTo>
                    <a:pt x="436" y="1123"/>
                  </a:lnTo>
                  <a:lnTo>
                    <a:pt x="441" y="1141"/>
                  </a:lnTo>
                  <a:close/>
                  <a:moveTo>
                    <a:pt x="180" y="939"/>
                  </a:moveTo>
                  <a:lnTo>
                    <a:pt x="208" y="926"/>
                  </a:lnTo>
                  <a:lnTo>
                    <a:pt x="224" y="900"/>
                  </a:lnTo>
                  <a:lnTo>
                    <a:pt x="219" y="874"/>
                  </a:lnTo>
                  <a:lnTo>
                    <a:pt x="232" y="900"/>
                  </a:lnTo>
                  <a:lnTo>
                    <a:pt x="237" y="874"/>
                  </a:lnTo>
                  <a:lnTo>
                    <a:pt x="212" y="851"/>
                  </a:lnTo>
                  <a:lnTo>
                    <a:pt x="196" y="825"/>
                  </a:lnTo>
                  <a:lnTo>
                    <a:pt x="196" y="797"/>
                  </a:lnTo>
                  <a:lnTo>
                    <a:pt x="173" y="768"/>
                  </a:lnTo>
                  <a:lnTo>
                    <a:pt x="164" y="742"/>
                  </a:lnTo>
                  <a:lnTo>
                    <a:pt x="146" y="717"/>
                  </a:lnTo>
                  <a:lnTo>
                    <a:pt x="134" y="690"/>
                  </a:lnTo>
                  <a:lnTo>
                    <a:pt x="113" y="662"/>
                  </a:lnTo>
                  <a:lnTo>
                    <a:pt x="116" y="636"/>
                  </a:lnTo>
                  <a:lnTo>
                    <a:pt x="87" y="628"/>
                  </a:lnTo>
                  <a:lnTo>
                    <a:pt x="58" y="641"/>
                  </a:lnTo>
                  <a:lnTo>
                    <a:pt x="33" y="636"/>
                  </a:lnTo>
                  <a:lnTo>
                    <a:pt x="17" y="662"/>
                  </a:lnTo>
                  <a:lnTo>
                    <a:pt x="12" y="688"/>
                  </a:lnTo>
                  <a:lnTo>
                    <a:pt x="0" y="717"/>
                  </a:lnTo>
                  <a:lnTo>
                    <a:pt x="5" y="742"/>
                  </a:lnTo>
                  <a:lnTo>
                    <a:pt x="19" y="768"/>
                  </a:lnTo>
                  <a:lnTo>
                    <a:pt x="38" y="794"/>
                  </a:lnTo>
                  <a:lnTo>
                    <a:pt x="74" y="846"/>
                  </a:lnTo>
                  <a:lnTo>
                    <a:pt x="79" y="874"/>
                  </a:lnTo>
                  <a:lnTo>
                    <a:pt x="108" y="897"/>
                  </a:lnTo>
                  <a:lnTo>
                    <a:pt x="134" y="913"/>
                  </a:lnTo>
                  <a:lnTo>
                    <a:pt x="159" y="931"/>
                  </a:lnTo>
                  <a:lnTo>
                    <a:pt x="180" y="939"/>
                  </a:lnTo>
                  <a:close/>
                  <a:moveTo>
                    <a:pt x="653" y="1478"/>
                  </a:moveTo>
                  <a:lnTo>
                    <a:pt x="627" y="1459"/>
                  </a:lnTo>
                  <a:lnTo>
                    <a:pt x="609" y="1434"/>
                  </a:lnTo>
                  <a:lnTo>
                    <a:pt x="613" y="1406"/>
                  </a:lnTo>
                  <a:lnTo>
                    <a:pt x="583" y="1390"/>
                  </a:lnTo>
                  <a:lnTo>
                    <a:pt x="565" y="1361"/>
                  </a:lnTo>
                  <a:lnTo>
                    <a:pt x="563" y="1335"/>
                  </a:lnTo>
                  <a:lnTo>
                    <a:pt x="558" y="1307"/>
                  </a:lnTo>
                  <a:lnTo>
                    <a:pt x="583" y="1289"/>
                  </a:lnTo>
                  <a:lnTo>
                    <a:pt x="609" y="1317"/>
                  </a:lnTo>
                  <a:lnTo>
                    <a:pt x="636" y="1343"/>
                  </a:lnTo>
                  <a:lnTo>
                    <a:pt x="659" y="1371"/>
                  </a:lnTo>
                  <a:lnTo>
                    <a:pt x="661" y="1397"/>
                  </a:lnTo>
                  <a:lnTo>
                    <a:pt x="632" y="1408"/>
                  </a:lnTo>
                  <a:lnTo>
                    <a:pt x="636" y="1434"/>
                  </a:lnTo>
                  <a:lnTo>
                    <a:pt x="653" y="1462"/>
                  </a:lnTo>
                  <a:lnTo>
                    <a:pt x="653" y="1478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7" name="Freeform 35"/>
            <p:cNvSpPr>
              <a:spLocks noEditPoints="1"/>
            </p:cNvSpPr>
            <p:nvPr/>
          </p:nvSpPr>
          <p:spPr bwMode="auto">
            <a:xfrm>
              <a:off x="386822" y="1537663"/>
              <a:ext cx="687919" cy="1042460"/>
            </a:xfrm>
            <a:custGeom>
              <a:avLst/>
              <a:gdLst>
                <a:gd name="T0" fmla="*/ 2147483647 w 1170"/>
                <a:gd name="T1" fmla="*/ 2147483647 h 1773"/>
                <a:gd name="T2" fmla="*/ 2147483647 w 1170"/>
                <a:gd name="T3" fmla="*/ 2147483647 h 1773"/>
                <a:gd name="T4" fmla="*/ 2147483647 w 1170"/>
                <a:gd name="T5" fmla="*/ 2147483647 h 1773"/>
                <a:gd name="T6" fmla="*/ 2147483647 w 1170"/>
                <a:gd name="T7" fmla="*/ 2147483647 h 1773"/>
                <a:gd name="T8" fmla="*/ 2147483647 w 1170"/>
                <a:gd name="T9" fmla="*/ 2147483647 h 1773"/>
                <a:gd name="T10" fmla="*/ 2147483647 w 1170"/>
                <a:gd name="T11" fmla="*/ 2147483647 h 1773"/>
                <a:gd name="T12" fmla="*/ 2147483647 w 1170"/>
                <a:gd name="T13" fmla="*/ 2147483647 h 1773"/>
                <a:gd name="T14" fmla="*/ 2147483647 w 1170"/>
                <a:gd name="T15" fmla="*/ 2147483647 h 1773"/>
                <a:gd name="T16" fmla="*/ 2147483647 w 1170"/>
                <a:gd name="T17" fmla="*/ 2147483647 h 1773"/>
                <a:gd name="T18" fmla="*/ 2147483647 w 1170"/>
                <a:gd name="T19" fmla="*/ 2147483647 h 1773"/>
                <a:gd name="T20" fmla="*/ 2147483647 w 1170"/>
                <a:gd name="T21" fmla="*/ 2147483647 h 1773"/>
                <a:gd name="T22" fmla="*/ 2147483647 w 1170"/>
                <a:gd name="T23" fmla="*/ 2147483647 h 1773"/>
                <a:gd name="T24" fmla="*/ 2147483647 w 1170"/>
                <a:gd name="T25" fmla="*/ 2147483647 h 1773"/>
                <a:gd name="T26" fmla="*/ 2147483647 w 1170"/>
                <a:gd name="T27" fmla="*/ 2147483647 h 1773"/>
                <a:gd name="T28" fmla="*/ 2147483647 w 1170"/>
                <a:gd name="T29" fmla="*/ 2147483647 h 1773"/>
                <a:gd name="T30" fmla="*/ 2147483647 w 1170"/>
                <a:gd name="T31" fmla="*/ 2147483647 h 1773"/>
                <a:gd name="T32" fmla="*/ 2147483647 w 1170"/>
                <a:gd name="T33" fmla="*/ 2147483647 h 1773"/>
                <a:gd name="T34" fmla="*/ 2147483647 w 1170"/>
                <a:gd name="T35" fmla="*/ 2147483647 h 1773"/>
                <a:gd name="T36" fmla="*/ 2147483647 w 1170"/>
                <a:gd name="T37" fmla="*/ 2147483647 h 1773"/>
                <a:gd name="T38" fmla="*/ 2147483647 w 1170"/>
                <a:gd name="T39" fmla="*/ 2147483647 h 1773"/>
                <a:gd name="T40" fmla="*/ 2147483647 w 1170"/>
                <a:gd name="T41" fmla="*/ 2147483647 h 1773"/>
                <a:gd name="T42" fmla="*/ 2147483647 w 1170"/>
                <a:gd name="T43" fmla="*/ 2147483647 h 1773"/>
                <a:gd name="T44" fmla="*/ 2147483647 w 1170"/>
                <a:gd name="T45" fmla="*/ 2147483647 h 1773"/>
                <a:gd name="T46" fmla="*/ 2147483647 w 1170"/>
                <a:gd name="T47" fmla="*/ 2147483647 h 1773"/>
                <a:gd name="T48" fmla="*/ 2147483647 w 1170"/>
                <a:gd name="T49" fmla="*/ 2147483647 h 1773"/>
                <a:gd name="T50" fmla="*/ 2147483647 w 1170"/>
                <a:gd name="T51" fmla="*/ 2147483647 h 1773"/>
                <a:gd name="T52" fmla="*/ 2147483647 w 1170"/>
                <a:gd name="T53" fmla="*/ 2147483647 h 1773"/>
                <a:gd name="T54" fmla="*/ 2147483647 w 1170"/>
                <a:gd name="T55" fmla="*/ 2147483647 h 1773"/>
                <a:gd name="T56" fmla="*/ 2147483647 w 1170"/>
                <a:gd name="T57" fmla="*/ 2147483647 h 1773"/>
                <a:gd name="T58" fmla="*/ 2147483647 w 1170"/>
                <a:gd name="T59" fmla="*/ 2147483647 h 1773"/>
                <a:gd name="T60" fmla="*/ 2147483647 w 1170"/>
                <a:gd name="T61" fmla="*/ 2147483647 h 1773"/>
                <a:gd name="T62" fmla="*/ 2147483647 w 1170"/>
                <a:gd name="T63" fmla="*/ 2147483647 h 1773"/>
                <a:gd name="T64" fmla="*/ 2147483647 w 1170"/>
                <a:gd name="T65" fmla="*/ 2147483647 h 1773"/>
                <a:gd name="T66" fmla="*/ 2147483647 w 1170"/>
                <a:gd name="T67" fmla="*/ 2147483647 h 1773"/>
                <a:gd name="T68" fmla="*/ 2147483647 w 1170"/>
                <a:gd name="T69" fmla="*/ 2147483647 h 1773"/>
                <a:gd name="T70" fmla="*/ 2147483647 w 1170"/>
                <a:gd name="T71" fmla="*/ 2147483647 h 1773"/>
                <a:gd name="T72" fmla="*/ 2147483647 w 1170"/>
                <a:gd name="T73" fmla="*/ 2147483647 h 1773"/>
                <a:gd name="T74" fmla="*/ 2147483647 w 1170"/>
                <a:gd name="T75" fmla="*/ 2147483647 h 1773"/>
                <a:gd name="T76" fmla="*/ 2147483647 w 1170"/>
                <a:gd name="T77" fmla="*/ 2147483647 h 1773"/>
                <a:gd name="T78" fmla="*/ 2147483647 w 1170"/>
                <a:gd name="T79" fmla="*/ 2147483647 h 1773"/>
                <a:gd name="T80" fmla="*/ 2147483647 w 1170"/>
                <a:gd name="T81" fmla="*/ 2147483647 h 1773"/>
                <a:gd name="T82" fmla="*/ 2147483647 w 1170"/>
                <a:gd name="T83" fmla="*/ 2147483647 h 1773"/>
                <a:gd name="T84" fmla="*/ 2147483647 w 1170"/>
                <a:gd name="T85" fmla="*/ 2147483647 h 1773"/>
                <a:gd name="T86" fmla="*/ 2147483647 w 1170"/>
                <a:gd name="T87" fmla="*/ 2147483647 h 1773"/>
                <a:gd name="T88" fmla="*/ 2147483647 w 1170"/>
                <a:gd name="T89" fmla="*/ 2147483647 h 1773"/>
                <a:gd name="T90" fmla="*/ 2147483647 w 1170"/>
                <a:gd name="T91" fmla="*/ 2147483647 h 1773"/>
                <a:gd name="T92" fmla="*/ 2147483647 w 1170"/>
                <a:gd name="T93" fmla="*/ 2147483647 h 1773"/>
                <a:gd name="T94" fmla="*/ 2147483647 w 1170"/>
                <a:gd name="T95" fmla="*/ 2147483647 h 1773"/>
                <a:gd name="T96" fmla="*/ 2147483647 w 1170"/>
                <a:gd name="T97" fmla="*/ 2147483647 h 1773"/>
                <a:gd name="T98" fmla="*/ 2147483647 w 1170"/>
                <a:gd name="T99" fmla="*/ 2147483647 h 1773"/>
                <a:gd name="T100" fmla="*/ 2147483647 w 1170"/>
                <a:gd name="T101" fmla="*/ 2147483647 h 1773"/>
                <a:gd name="T102" fmla="*/ 2147483647 w 1170"/>
                <a:gd name="T103" fmla="*/ 2147483647 h 1773"/>
                <a:gd name="T104" fmla="*/ 2147483647 w 1170"/>
                <a:gd name="T105" fmla="*/ 2147483647 h 1773"/>
                <a:gd name="T106" fmla="*/ 2147483647 w 1170"/>
                <a:gd name="T107" fmla="*/ 2147483647 h 1773"/>
                <a:gd name="T108" fmla="*/ 2147483647 w 1170"/>
                <a:gd name="T109" fmla="*/ 2147483647 h 1773"/>
                <a:gd name="T110" fmla="*/ 2147483647 w 1170"/>
                <a:gd name="T111" fmla="*/ 2147483647 h 1773"/>
                <a:gd name="T112" fmla="*/ 2147483647 w 1170"/>
                <a:gd name="T113" fmla="*/ 2147483647 h 1773"/>
                <a:gd name="T114" fmla="*/ 2147483647 w 1170"/>
                <a:gd name="T115" fmla="*/ 2147483647 h 1773"/>
                <a:gd name="T116" fmla="*/ 2147483647 w 1170"/>
                <a:gd name="T117" fmla="*/ 2147483647 h 1773"/>
                <a:gd name="T118" fmla="*/ 2147483647 w 1170"/>
                <a:gd name="T119" fmla="*/ 2147483647 h 1773"/>
                <a:gd name="T120" fmla="*/ 2147483647 w 1170"/>
                <a:gd name="T121" fmla="*/ 2147483647 h 177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70" h="1773">
                  <a:moveTo>
                    <a:pt x="732" y="1490"/>
                  </a:moveTo>
                  <a:lnTo>
                    <a:pt x="732" y="1463"/>
                  </a:lnTo>
                  <a:lnTo>
                    <a:pt x="726" y="1437"/>
                  </a:lnTo>
                  <a:lnTo>
                    <a:pt x="722" y="1411"/>
                  </a:lnTo>
                  <a:lnTo>
                    <a:pt x="714" y="1386"/>
                  </a:lnTo>
                  <a:lnTo>
                    <a:pt x="709" y="1356"/>
                  </a:lnTo>
                  <a:lnTo>
                    <a:pt x="693" y="1331"/>
                  </a:lnTo>
                  <a:lnTo>
                    <a:pt x="691" y="1305"/>
                  </a:lnTo>
                  <a:lnTo>
                    <a:pt x="668" y="1276"/>
                  </a:lnTo>
                  <a:lnTo>
                    <a:pt x="668" y="1250"/>
                  </a:lnTo>
                  <a:lnTo>
                    <a:pt x="657" y="1222"/>
                  </a:lnTo>
                  <a:lnTo>
                    <a:pt x="652" y="1193"/>
                  </a:lnTo>
                  <a:lnTo>
                    <a:pt x="639" y="1168"/>
                  </a:lnTo>
                  <a:lnTo>
                    <a:pt x="629" y="1139"/>
                  </a:lnTo>
                  <a:lnTo>
                    <a:pt x="624" y="1114"/>
                  </a:lnTo>
                  <a:lnTo>
                    <a:pt x="608" y="1085"/>
                  </a:lnTo>
                  <a:lnTo>
                    <a:pt x="597" y="1059"/>
                  </a:lnTo>
                  <a:lnTo>
                    <a:pt x="577" y="1033"/>
                  </a:lnTo>
                  <a:lnTo>
                    <a:pt x="603" y="1022"/>
                  </a:lnTo>
                  <a:lnTo>
                    <a:pt x="616" y="997"/>
                  </a:lnTo>
                  <a:lnTo>
                    <a:pt x="600" y="969"/>
                  </a:lnTo>
                  <a:lnTo>
                    <a:pt x="574" y="971"/>
                  </a:lnTo>
                  <a:lnTo>
                    <a:pt x="551" y="945"/>
                  </a:lnTo>
                  <a:lnTo>
                    <a:pt x="530" y="919"/>
                  </a:lnTo>
                  <a:lnTo>
                    <a:pt x="505" y="893"/>
                  </a:lnTo>
                  <a:lnTo>
                    <a:pt x="479" y="875"/>
                  </a:lnTo>
                  <a:lnTo>
                    <a:pt x="450" y="872"/>
                  </a:lnTo>
                  <a:lnTo>
                    <a:pt x="424" y="860"/>
                  </a:lnTo>
                  <a:lnTo>
                    <a:pt x="399" y="833"/>
                  </a:lnTo>
                  <a:lnTo>
                    <a:pt x="371" y="813"/>
                  </a:lnTo>
                  <a:lnTo>
                    <a:pt x="344" y="798"/>
                  </a:lnTo>
                  <a:lnTo>
                    <a:pt x="332" y="792"/>
                  </a:lnTo>
                  <a:lnTo>
                    <a:pt x="314" y="783"/>
                  </a:lnTo>
                  <a:lnTo>
                    <a:pt x="313" y="777"/>
                  </a:lnTo>
                  <a:lnTo>
                    <a:pt x="314" y="771"/>
                  </a:lnTo>
                  <a:lnTo>
                    <a:pt x="314" y="756"/>
                  </a:lnTo>
                  <a:lnTo>
                    <a:pt x="316" y="732"/>
                  </a:lnTo>
                  <a:lnTo>
                    <a:pt x="318" y="704"/>
                  </a:lnTo>
                  <a:lnTo>
                    <a:pt x="321" y="673"/>
                  </a:lnTo>
                  <a:lnTo>
                    <a:pt x="324" y="640"/>
                  </a:lnTo>
                  <a:lnTo>
                    <a:pt x="330" y="610"/>
                  </a:lnTo>
                  <a:lnTo>
                    <a:pt x="335" y="582"/>
                  </a:lnTo>
                  <a:lnTo>
                    <a:pt x="337" y="571"/>
                  </a:lnTo>
                  <a:lnTo>
                    <a:pt x="339" y="561"/>
                  </a:lnTo>
                  <a:lnTo>
                    <a:pt x="339" y="554"/>
                  </a:lnTo>
                  <a:lnTo>
                    <a:pt x="339" y="547"/>
                  </a:lnTo>
                  <a:lnTo>
                    <a:pt x="338" y="541"/>
                  </a:lnTo>
                  <a:lnTo>
                    <a:pt x="337" y="536"/>
                  </a:lnTo>
                  <a:lnTo>
                    <a:pt x="335" y="532"/>
                  </a:lnTo>
                  <a:lnTo>
                    <a:pt x="332" y="528"/>
                  </a:lnTo>
                  <a:lnTo>
                    <a:pt x="325" y="520"/>
                  </a:lnTo>
                  <a:lnTo>
                    <a:pt x="319" y="512"/>
                  </a:lnTo>
                  <a:lnTo>
                    <a:pt x="315" y="507"/>
                  </a:lnTo>
                  <a:lnTo>
                    <a:pt x="311" y="500"/>
                  </a:lnTo>
                  <a:lnTo>
                    <a:pt x="308" y="492"/>
                  </a:lnTo>
                  <a:lnTo>
                    <a:pt x="303" y="484"/>
                  </a:lnTo>
                  <a:lnTo>
                    <a:pt x="298" y="466"/>
                  </a:lnTo>
                  <a:lnTo>
                    <a:pt x="294" y="452"/>
                  </a:lnTo>
                  <a:lnTo>
                    <a:pt x="292" y="441"/>
                  </a:lnTo>
                  <a:lnTo>
                    <a:pt x="291" y="431"/>
                  </a:lnTo>
                  <a:lnTo>
                    <a:pt x="291" y="413"/>
                  </a:lnTo>
                  <a:lnTo>
                    <a:pt x="292" y="391"/>
                  </a:lnTo>
                  <a:lnTo>
                    <a:pt x="291" y="378"/>
                  </a:lnTo>
                  <a:lnTo>
                    <a:pt x="289" y="364"/>
                  </a:lnTo>
                  <a:lnTo>
                    <a:pt x="285" y="350"/>
                  </a:lnTo>
                  <a:lnTo>
                    <a:pt x="280" y="336"/>
                  </a:lnTo>
                  <a:lnTo>
                    <a:pt x="270" y="307"/>
                  </a:lnTo>
                  <a:lnTo>
                    <a:pt x="257" y="277"/>
                  </a:lnTo>
                  <a:lnTo>
                    <a:pt x="255" y="268"/>
                  </a:lnTo>
                  <a:lnTo>
                    <a:pt x="254" y="262"/>
                  </a:lnTo>
                  <a:lnTo>
                    <a:pt x="254" y="255"/>
                  </a:lnTo>
                  <a:lnTo>
                    <a:pt x="255" y="248"/>
                  </a:lnTo>
                  <a:lnTo>
                    <a:pt x="257" y="243"/>
                  </a:lnTo>
                  <a:lnTo>
                    <a:pt x="259" y="238"/>
                  </a:lnTo>
                  <a:lnTo>
                    <a:pt x="264" y="234"/>
                  </a:lnTo>
                  <a:lnTo>
                    <a:pt x="267" y="228"/>
                  </a:lnTo>
                  <a:lnTo>
                    <a:pt x="286" y="213"/>
                  </a:lnTo>
                  <a:lnTo>
                    <a:pt x="303" y="199"/>
                  </a:lnTo>
                  <a:lnTo>
                    <a:pt x="311" y="193"/>
                  </a:lnTo>
                  <a:lnTo>
                    <a:pt x="315" y="184"/>
                  </a:lnTo>
                  <a:lnTo>
                    <a:pt x="318" y="176"/>
                  </a:lnTo>
                  <a:lnTo>
                    <a:pt x="321" y="166"/>
                  </a:lnTo>
                  <a:lnTo>
                    <a:pt x="323" y="157"/>
                  </a:lnTo>
                  <a:lnTo>
                    <a:pt x="327" y="144"/>
                  </a:lnTo>
                  <a:lnTo>
                    <a:pt x="331" y="131"/>
                  </a:lnTo>
                  <a:lnTo>
                    <a:pt x="338" y="116"/>
                  </a:lnTo>
                  <a:lnTo>
                    <a:pt x="344" y="103"/>
                  </a:lnTo>
                  <a:lnTo>
                    <a:pt x="349" y="95"/>
                  </a:lnTo>
                  <a:lnTo>
                    <a:pt x="352" y="90"/>
                  </a:lnTo>
                  <a:lnTo>
                    <a:pt x="356" y="87"/>
                  </a:lnTo>
                  <a:lnTo>
                    <a:pt x="375" y="75"/>
                  </a:lnTo>
                  <a:lnTo>
                    <a:pt x="417" y="45"/>
                  </a:lnTo>
                  <a:lnTo>
                    <a:pt x="426" y="28"/>
                  </a:lnTo>
                  <a:lnTo>
                    <a:pt x="404" y="0"/>
                  </a:lnTo>
                  <a:lnTo>
                    <a:pt x="427" y="29"/>
                  </a:lnTo>
                  <a:lnTo>
                    <a:pt x="419" y="54"/>
                  </a:lnTo>
                  <a:lnTo>
                    <a:pt x="419" y="73"/>
                  </a:lnTo>
                  <a:lnTo>
                    <a:pt x="417" y="98"/>
                  </a:lnTo>
                  <a:lnTo>
                    <a:pt x="391" y="112"/>
                  </a:lnTo>
                  <a:lnTo>
                    <a:pt x="417" y="107"/>
                  </a:lnTo>
                  <a:lnTo>
                    <a:pt x="429" y="132"/>
                  </a:lnTo>
                  <a:lnTo>
                    <a:pt x="458" y="135"/>
                  </a:lnTo>
                  <a:lnTo>
                    <a:pt x="484" y="148"/>
                  </a:lnTo>
                  <a:lnTo>
                    <a:pt x="510" y="163"/>
                  </a:lnTo>
                  <a:lnTo>
                    <a:pt x="539" y="190"/>
                  </a:lnTo>
                  <a:lnTo>
                    <a:pt x="564" y="197"/>
                  </a:lnTo>
                  <a:lnTo>
                    <a:pt x="572" y="223"/>
                  </a:lnTo>
                  <a:lnTo>
                    <a:pt x="595" y="251"/>
                  </a:lnTo>
                  <a:lnTo>
                    <a:pt x="620" y="267"/>
                  </a:lnTo>
                  <a:lnTo>
                    <a:pt x="647" y="277"/>
                  </a:lnTo>
                  <a:lnTo>
                    <a:pt x="673" y="285"/>
                  </a:lnTo>
                  <a:lnTo>
                    <a:pt x="698" y="296"/>
                  </a:lnTo>
                  <a:lnTo>
                    <a:pt x="726" y="313"/>
                  </a:lnTo>
                  <a:lnTo>
                    <a:pt x="753" y="326"/>
                  </a:lnTo>
                  <a:lnTo>
                    <a:pt x="779" y="349"/>
                  </a:lnTo>
                  <a:lnTo>
                    <a:pt x="807" y="375"/>
                  </a:lnTo>
                  <a:lnTo>
                    <a:pt x="833" y="386"/>
                  </a:lnTo>
                  <a:lnTo>
                    <a:pt x="857" y="412"/>
                  </a:lnTo>
                  <a:lnTo>
                    <a:pt x="882" y="437"/>
                  </a:lnTo>
                  <a:lnTo>
                    <a:pt x="910" y="448"/>
                  </a:lnTo>
                  <a:lnTo>
                    <a:pt x="936" y="453"/>
                  </a:lnTo>
                  <a:lnTo>
                    <a:pt x="957" y="479"/>
                  </a:lnTo>
                  <a:lnTo>
                    <a:pt x="977" y="508"/>
                  </a:lnTo>
                  <a:lnTo>
                    <a:pt x="980" y="518"/>
                  </a:lnTo>
                  <a:lnTo>
                    <a:pt x="1007" y="531"/>
                  </a:lnTo>
                  <a:lnTo>
                    <a:pt x="1027" y="557"/>
                  </a:lnTo>
                  <a:lnTo>
                    <a:pt x="1030" y="582"/>
                  </a:lnTo>
                  <a:lnTo>
                    <a:pt x="1021" y="609"/>
                  </a:lnTo>
                  <a:lnTo>
                    <a:pt x="1027" y="635"/>
                  </a:lnTo>
                  <a:lnTo>
                    <a:pt x="1032" y="649"/>
                  </a:lnTo>
                  <a:lnTo>
                    <a:pt x="1032" y="616"/>
                  </a:lnTo>
                  <a:lnTo>
                    <a:pt x="1058" y="626"/>
                  </a:lnTo>
                  <a:lnTo>
                    <a:pt x="1058" y="653"/>
                  </a:lnTo>
                  <a:lnTo>
                    <a:pt x="1071" y="681"/>
                  </a:lnTo>
                  <a:lnTo>
                    <a:pt x="1079" y="686"/>
                  </a:lnTo>
                  <a:lnTo>
                    <a:pt x="1071" y="658"/>
                  </a:lnTo>
                  <a:lnTo>
                    <a:pt x="1079" y="632"/>
                  </a:lnTo>
                  <a:lnTo>
                    <a:pt x="1104" y="624"/>
                  </a:lnTo>
                  <a:lnTo>
                    <a:pt x="1120" y="649"/>
                  </a:lnTo>
                  <a:lnTo>
                    <a:pt x="1118" y="647"/>
                  </a:lnTo>
                  <a:lnTo>
                    <a:pt x="1117" y="651"/>
                  </a:lnTo>
                  <a:lnTo>
                    <a:pt x="1115" y="654"/>
                  </a:lnTo>
                  <a:lnTo>
                    <a:pt x="1121" y="661"/>
                  </a:lnTo>
                  <a:lnTo>
                    <a:pt x="1117" y="787"/>
                  </a:lnTo>
                  <a:lnTo>
                    <a:pt x="1120" y="789"/>
                  </a:lnTo>
                  <a:lnTo>
                    <a:pt x="1126" y="797"/>
                  </a:lnTo>
                  <a:lnTo>
                    <a:pt x="1128" y="803"/>
                  </a:lnTo>
                  <a:lnTo>
                    <a:pt x="1131" y="810"/>
                  </a:lnTo>
                  <a:lnTo>
                    <a:pt x="1129" y="821"/>
                  </a:lnTo>
                  <a:lnTo>
                    <a:pt x="1127" y="834"/>
                  </a:lnTo>
                  <a:lnTo>
                    <a:pt x="1119" y="858"/>
                  </a:lnTo>
                  <a:lnTo>
                    <a:pt x="1114" y="877"/>
                  </a:lnTo>
                  <a:lnTo>
                    <a:pt x="1113" y="885"/>
                  </a:lnTo>
                  <a:lnTo>
                    <a:pt x="1113" y="891"/>
                  </a:lnTo>
                  <a:lnTo>
                    <a:pt x="1115" y="897"/>
                  </a:lnTo>
                  <a:lnTo>
                    <a:pt x="1119" y="905"/>
                  </a:lnTo>
                  <a:lnTo>
                    <a:pt x="1127" y="914"/>
                  </a:lnTo>
                  <a:lnTo>
                    <a:pt x="1139" y="929"/>
                  </a:lnTo>
                  <a:lnTo>
                    <a:pt x="1150" y="947"/>
                  </a:lnTo>
                  <a:lnTo>
                    <a:pt x="1161" y="966"/>
                  </a:lnTo>
                  <a:lnTo>
                    <a:pt x="1165" y="976"/>
                  </a:lnTo>
                  <a:lnTo>
                    <a:pt x="1168" y="986"/>
                  </a:lnTo>
                  <a:lnTo>
                    <a:pt x="1170" y="995"/>
                  </a:lnTo>
                  <a:lnTo>
                    <a:pt x="1170" y="1004"/>
                  </a:lnTo>
                  <a:lnTo>
                    <a:pt x="1170" y="1009"/>
                  </a:lnTo>
                  <a:lnTo>
                    <a:pt x="1169" y="1013"/>
                  </a:lnTo>
                  <a:lnTo>
                    <a:pt x="1167" y="1016"/>
                  </a:lnTo>
                  <a:lnTo>
                    <a:pt x="1165" y="1020"/>
                  </a:lnTo>
                  <a:lnTo>
                    <a:pt x="1163" y="1023"/>
                  </a:lnTo>
                  <a:lnTo>
                    <a:pt x="1159" y="1027"/>
                  </a:lnTo>
                  <a:lnTo>
                    <a:pt x="1156" y="1029"/>
                  </a:lnTo>
                  <a:lnTo>
                    <a:pt x="1150" y="1031"/>
                  </a:lnTo>
                  <a:lnTo>
                    <a:pt x="1129" y="1040"/>
                  </a:lnTo>
                  <a:lnTo>
                    <a:pt x="1107" y="1050"/>
                  </a:lnTo>
                  <a:lnTo>
                    <a:pt x="1086" y="1060"/>
                  </a:lnTo>
                  <a:lnTo>
                    <a:pt x="1068" y="1071"/>
                  </a:lnTo>
                  <a:lnTo>
                    <a:pt x="1060" y="1077"/>
                  </a:lnTo>
                  <a:lnTo>
                    <a:pt x="1054" y="1083"/>
                  </a:lnTo>
                  <a:lnTo>
                    <a:pt x="1049" y="1090"/>
                  </a:lnTo>
                  <a:lnTo>
                    <a:pt x="1046" y="1096"/>
                  </a:lnTo>
                  <a:lnTo>
                    <a:pt x="1044" y="1099"/>
                  </a:lnTo>
                  <a:lnTo>
                    <a:pt x="1044" y="1102"/>
                  </a:lnTo>
                  <a:lnTo>
                    <a:pt x="1044" y="1106"/>
                  </a:lnTo>
                  <a:lnTo>
                    <a:pt x="1046" y="1109"/>
                  </a:lnTo>
                  <a:lnTo>
                    <a:pt x="1049" y="1117"/>
                  </a:lnTo>
                  <a:lnTo>
                    <a:pt x="1055" y="1124"/>
                  </a:lnTo>
                  <a:lnTo>
                    <a:pt x="1068" y="1138"/>
                  </a:lnTo>
                  <a:lnTo>
                    <a:pt x="1076" y="1148"/>
                  </a:lnTo>
                  <a:lnTo>
                    <a:pt x="1082" y="1157"/>
                  </a:lnTo>
                  <a:lnTo>
                    <a:pt x="1085" y="1164"/>
                  </a:lnTo>
                  <a:lnTo>
                    <a:pt x="1088" y="1172"/>
                  </a:lnTo>
                  <a:lnTo>
                    <a:pt x="1088" y="1182"/>
                  </a:lnTo>
                  <a:lnTo>
                    <a:pt x="1086" y="1193"/>
                  </a:lnTo>
                  <a:lnTo>
                    <a:pt x="1085" y="1210"/>
                  </a:lnTo>
                  <a:lnTo>
                    <a:pt x="1084" y="1232"/>
                  </a:lnTo>
                  <a:lnTo>
                    <a:pt x="1083" y="1259"/>
                  </a:lnTo>
                  <a:lnTo>
                    <a:pt x="1081" y="1286"/>
                  </a:lnTo>
                  <a:lnTo>
                    <a:pt x="1079" y="1312"/>
                  </a:lnTo>
                  <a:lnTo>
                    <a:pt x="1079" y="1316"/>
                  </a:lnTo>
                  <a:lnTo>
                    <a:pt x="1074" y="1316"/>
                  </a:lnTo>
                  <a:lnTo>
                    <a:pt x="1071" y="1315"/>
                  </a:lnTo>
                  <a:lnTo>
                    <a:pt x="977" y="1280"/>
                  </a:lnTo>
                  <a:lnTo>
                    <a:pt x="973" y="1279"/>
                  </a:lnTo>
                  <a:lnTo>
                    <a:pt x="965" y="1277"/>
                  </a:lnTo>
                  <a:lnTo>
                    <a:pt x="953" y="1279"/>
                  </a:lnTo>
                  <a:lnTo>
                    <a:pt x="941" y="1280"/>
                  </a:lnTo>
                  <a:lnTo>
                    <a:pt x="935" y="1282"/>
                  </a:lnTo>
                  <a:lnTo>
                    <a:pt x="931" y="1284"/>
                  </a:lnTo>
                  <a:lnTo>
                    <a:pt x="928" y="1288"/>
                  </a:lnTo>
                  <a:lnTo>
                    <a:pt x="927" y="1292"/>
                  </a:lnTo>
                  <a:lnTo>
                    <a:pt x="927" y="1297"/>
                  </a:lnTo>
                  <a:lnTo>
                    <a:pt x="930" y="1305"/>
                  </a:lnTo>
                  <a:lnTo>
                    <a:pt x="935" y="1313"/>
                  </a:lnTo>
                  <a:lnTo>
                    <a:pt x="944" y="1324"/>
                  </a:lnTo>
                  <a:lnTo>
                    <a:pt x="952" y="1333"/>
                  </a:lnTo>
                  <a:lnTo>
                    <a:pt x="959" y="1344"/>
                  </a:lnTo>
                  <a:lnTo>
                    <a:pt x="966" y="1353"/>
                  </a:lnTo>
                  <a:lnTo>
                    <a:pt x="970" y="1362"/>
                  </a:lnTo>
                  <a:lnTo>
                    <a:pt x="973" y="1370"/>
                  </a:lnTo>
                  <a:lnTo>
                    <a:pt x="975" y="1377"/>
                  </a:lnTo>
                  <a:lnTo>
                    <a:pt x="975" y="1384"/>
                  </a:lnTo>
                  <a:lnTo>
                    <a:pt x="974" y="1390"/>
                  </a:lnTo>
                  <a:lnTo>
                    <a:pt x="972" y="1395"/>
                  </a:lnTo>
                  <a:lnTo>
                    <a:pt x="969" y="1399"/>
                  </a:lnTo>
                  <a:lnTo>
                    <a:pt x="965" y="1402"/>
                  </a:lnTo>
                  <a:lnTo>
                    <a:pt x="959" y="1406"/>
                  </a:lnTo>
                  <a:lnTo>
                    <a:pt x="953" y="1408"/>
                  </a:lnTo>
                  <a:lnTo>
                    <a:pt x="946" y="1408"/>
                  </a:lnTo>
                  <a:lnTo>
                    <a:pt x="937" y="1408"/>
                  </a:lnTo>
                  <a:lnTo>
                    <a:pt x="928" y="1406"/>
                  </a:lnTo>
                  <a:lnTo>
                    <a:pt x="910" y="1401"/>
                  </a:lnTo>
                  <a:lnTo>
                    <a:pt x="893" y="1396"/>
                  </a:lnTo>
                  <a:lnTo>
                    <a:pt x="880" y="1390"/>
                  </a:lnTo>
                  <a:lnTo>
                    <a:pt x="866" y="1386"/>
                  </a:lnTo>
                  <a:lnTo>
                    <a:pt x="860" y="1384"/>
                  </a:lnTo>
                  <a:lnTo>
                    <a:pt x="853" y="1383"/>
                  </a:lnTo>
                  <a:lnTo>
                    <a:pt x="848" y="1383"/>
                  </a:lnTo>
                  <a:lnTo>
                    <a:pt x="842" y="1383"/>
                  </a:lnTo>
                  <a:lnTo>
                    <a:pt x="836" y="1385"/>
                  </a:lnTo>
                  <a:lnTo>
                    <a:pt x="829" y="1387"/>
                  </a:lnTo>
                  <a:lnTo>
                    <a:pt x="823" y="1391"/>
                  </a:lnTo>
                  <a:lnTo>
                    <a:pt x="817" y="1396"/>
                  </a:lnTo>
                  <a:lnTo>
                    <a:pt x="803" y="1409"/>
                  </a:lnTo>
                  <a:lnTo>
                    <a:pt x="788" y="1423"/>
                  </a:lnTo>
                  <a:lnTo>
                    <a:pt x="775" y="1439"/>
                  </a:lnTo>
                  <a:lnTo>
                    <a:pt x="763" y="1454"/>
                  </a:lnTo>
                  <a:lnTo>
                    <a:pt x="743" y="1479"/>
                  </a:lnTo>
                  <a:lnTo>
                    <a:pt x="736" y="1489"/>
                  </a:lnTo>
                  <a:lnTo>
                    <a:pt x="732" y="1490"/>
                  </a:lnTo>
                  <a:close/>
                  <a:moveTo>
                    <a:pt x="466" y="1579"/>
                  </a:moveTo>
                  <a:lnTo>
                    <a:pt x="486" y="1605"/>
                  </a:lnTo>
                  <a:lnTo>
                    <a:pt x="494" y="1631"/>
                  </a:lnTo>
                  <a:lnTo>
                    <a:pt x="507" y="1657"/>
                  </a:lnTo>
                  <a:lnTo>
                    <a:pt x="523" y="1683"/>
                  </a:lnTo>
                  <a:lnTo>
                    <a:pt x="514" y="1711"/>
                  </a:lnTo>
                  <a:lnTo>
                    <a:pt x="502" y="1685"/>
                  </a:lnTo>
                  <a:lnTo>
                    <a:pt x="484" y="1657"/>
                  </a:lnTo>
                  <a:lnTo>
                    <a:pt x="463" y="1631"/>
                  </a:lnTo>
                  <a:lnTo>
                    <a:pt x="456" y="1605"/>
                  </a:lnTo>
                  <a:lnTo>
                    <a:pt x="443" y="1579"/>
                  </a:lnTo>
                  <a:lnTo>
                    <a:pt x="466" y="1579"/>
                  </a:lnTo>
                  <a:close/>
                  <a:moveTo>
                    <a:pt x="217" y="1362"/>
                  </a:moveTo>
                  <a:lnTo>
                    <a:pt x="244" y="1377"/>
                  </a:lnTo>
                  <a:lnTo>
                    <a:pt x="269" y="1375"/>
                  </a:lnTo>
                  <a:lnTo>
                    <a:pt x="288" y="1347"/>
                  </a:lnTo>
                  <a:lnTo>
                    <a:pt x="288" y="1317"/>
                  </a:lnTo>
                  <a:lnTo>
                    <a:pt x="293" y="1292"/>
                  </a:lnTo>
                  <a:lnTo>
                    <a:pt x="290" y="1264"/>
                  </a:lnTo>
                  <a:lnTo>
                    <a:pt x="303" y="1238"/>
                  </a:lnTo>
                  <a:lnTo>
                    <a:pt x="293" y="1211"/>
                  </a:lnTo>
                  <a:lnTo>
                    <a:pt x="267" y="1202"/>
                  </a:lnTo>
                  <a:lnTo>
                    <a:pt x="251" y="1172"/>
                  </a:lnTo>
                  <a:lnTo>
                    <a:pt x="223" y="1165"/>
                  </a:lnTo>
                  <a:lnTo>
                    <a:pt x="197" y="1137"/>
                  </a:lnTo>
                  <a:lnTo>
                    <a:pt x="184" y="1111"/>
                  </a:lnTo>
                  <a:lnTo>
                    <a:pt x="161" y="1085"/>
                  </a:lnTo>
                  <a:lnTo>
                    <a:pt x="134" y="1059"/>
                  </a:lnTo>
                  <a:lnTo>
                    <a:pt x="109" y="1046"/>
                  </a:lnTo>
                  <a:lnTo>
                    <a:pt x="83" y="1064"/>
                  </a:lnTo>
                  <a:lnTo>
                    <a:pt x="55" y="1082"/>
                  </a:lnTo>
                  <a:lnTo>
                    <a:pt x="28" y="1080"/>
                  </a:lnTo>
                  <a:lnTo>
                    <a:pt x="0" y="1077"/>
                  </a:lnTo>
                  <a:lnTo>
                    <a:pt x="26" y="1100"/>
                  </a:lnTo>
                  <a:lnTo>
                    <a:pt x="47" y="1126"/>
                  </a:lnTo>
                  <a:lnTo>
                    <a:pt x="70" y="1155"/>
                  </a:lnTo>
                  <a:lnTo>
                    <a:pt x="88" y="1181"/>
                  </a:lnTo>
                  <a:lnTo>
                    <a:pt x="106" y="1209"/>
                  </a:lnTo>
                  <a:lnTo>
                    <a:pt x="111" y="1235"/>
                  </a:lnTo>
                  <a:lnTo>
                    <a:pt x="140" y="1245"/>
                  </a:lnTo>
                  <a:lnTo>
                    <a:pt x="166" y="1269"/>
                  </a:lnTo>
                  <a:lnTo>
                    <a:pt x="192" y="1294"/>
                  </a:lnTo>
                  <a:lnTo>
                    <a:pt x="205" y="1323"/>
                  </a:lnTo>
                  <a:lnTo>
                    <a:pt x="210" y="1349"/>
                  </a:lnTo>
                  <a:lnTo>
                    <a:pt x="217" y="1362"/>
                  </a:lnTo>
                  <a:close/>
                  <a:moveTo>
                    <a:pt x="502" y="1743"/>
                  </a:moveTo>
                  <a:lnTo>
                    <a:pt x="505" y="1771"/>
                  </a:lnTo>
                  <a:lnTo>
                    <a:pt x="477" y="1768"/>
                  </a:lnTo>
                  <a:lnTo>
                    <a:pt x="450" y="1773"/>
                  </a:lnTo>
                  <a:lnTo>
                    <a:pt x="447" y="1748"/>
                  </a:lnTo>
                  <a:lnTo>
                    <a:pt x="452" y="1720"/>
                  </a:lnTo>
                  <a:lnTo>
                    <a:pt x="463" y="1693"/>
                  </a:lnTo>
                  <a:lnTo>
                    <a:pt x="477" y="1667"/>
                  </a:lnTo>
                  <a:lnTo>
                    <a:pt x="497" y="1693"/>
                  </a:lnTo>
                  <a:lnTo>
                    <a:pt x="505" y="1722"/>
                  </a:lnTo>
                  <a:lnTo>
                    <a:pt x="502" y="1743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8" name="Freeform 36"/>
            <p:cNvSpPr>
              <a:spLocks noEditPoints="1"/>
            </p:cNvSpPr>
            <p:nvPr/>
          </p:nvSpPr>
          <p:spPr bwMode="auto">
            <a:xfrm>
              <a:off x="1207034" y="2934664"/>
              <a:ext cx="557390" cy="672043"/>
            </a:xfrm>
            <a:custGeom>
              <a:avLst/>
              <a:gdLst>
                <a:gd name="T0" fmla="*/ 2147483647 w 947"/>
                <a:gd name="T1" fmla="*/ 2147483647 h 1141"/>
                <a:gd name="T2" fmla="*/ 2147483647 w 947"/>
                <a:gd name="T3" fmla="*/ 2147483647 h 1141"/>
                <a:gd name="T4" fmla="*/ 2147483647 w 947"/>
                <a:gd name="T5" fmla="*/ 2147483647 h 1141"/>
                <a:gd name="T6" fmla="*/ 2147483647 w 947"/>
                <a:gd name="T7" fmla="*/ 2147483647 h 1141"/>
                <a:gd name="T8" fmla="*/ 2147483647 w 947"/>
                <a:gd name="T9" fmla="*/ 2147483647 h 1141"/>
                <a:gd name="T10" fmla="*/ 2147483647 w 947"/>
                <a:gd name="T11" fmla="*/ 2147483647 h 1141"/>
                <a:gd name="T12" fmla="*/ 2147483647 w 947"/>
                <a:gd name="T13" fmla="*/ 2147483647 h 1141"/>
                <a:gd name="T14" fmla="*/ 2147483647 w 947"/>
                <a:gd name="T15" fmla="*/ 2147483647 h 1141"/>
                <a:gd name="T16" fmla="*/ 2147483647 w 947"/>
                <a:gd name="T17" fmla="*/ 2147483647 h 1141"/>
                <a:gd name="T18" fmla="*/ 2147483647 w 947"/>
                <a:gd name="T19" fmla="*/ 2147483647 h 1141"/>
                <a:gd name="T20" fmla="*/ 2147483647 w 947"/>
                <a:gd name="T21" fmla="*/ 2147483647 h 1141"/>
                <a:gd name="T22" fmla="*/ 2147483647 w 947"/>
                <a:gd name="T23" fmla="*/ 2147483647 h 1141"/>
                <a:gd name="T24" fmla="*/ 2147483647 w 947"/>
                <a:gd name="T25" fmla="*/ 2147483647 h 1141"/>
                <a:gd name="T26" fmla="*/ 2147483647 w 947"/>
                <a:gd name="T27" fmla="*/ 2147483647 h 1141"/>
                <a:gd name="T28" fmla="*/ 2147483647 w 947"/>
                <a:gd name="T29" fmla="*/ 2147483647 h 1141"/>
                <a:gd name="T30" fmla="*/ 2147483647 w 947"/>
                <a:gd name="T31" fmla="*/ 2147483647 h 1141"/>
                <a:gd name="T32" fmla="*/ 2147483647 w 947"/>
                <a:gd name="T33" fmla="*/ 2147483647 h 1141"/>
                <a:gd name="T34" fmla="*/ 2147483647 w 947"/>
                <a:gd name="T35" fmla="*/ 2147483647 h 1141"/>
                <a:gd name="T36" fmla="*/ 2147483647 w 947"/>
                <a:gd name="T37" fmla="*/ 2147483647 h 1141"/>
                <a:gd name="T38" fmla="*/ 2147483647 w 947"/>
                <a:gd name="T39" fmla="*/ 2147483647 h 1141"/>
                <a:gd name="T40" fmla="*/ 2147483647 w 947"/>
                <a:gd name="T41" fmla="*/ 2147483647 h 1141"/>
                <a:gd name="T42" fmla="*/ 2147483647 w 947"/>
                <a:gd name="T43" fmla="*/ 2147483647 h 1141"/>
                <a:gd name="T44" fmla="*/ 2147483647 w 947"/>
                <a:gd name="T45" fmla="*/ 2147483647 h 1141"/>
                <a:gd name="T46" fmla="*/ 2147483647 w 947"/>
                <a:gd name="T47" fmla="*/ 2147483647 h 1141"/>
                <a:gd name="T48" fmla="*/ 2147483647 w 947"/>
                <a:gd name="T49" fmla="*/ 2147483647 h 1141"/>
                <a:gd name="T50" fmla="*/ 2147483647 w 947"/>
                <a:gd name="T51" fmla="*/ 2147483647 h 1141"/>
                <a:gd name="T52" fmla="*/ 2147483647 w 947"/>
                <a:gd name="T53" fmla="*/ 2147483647 h 1141"/>
                <a:gd name="T54" fmla="*/ 2147483647 w 947"/>
                <a:gd name="T55" fmla="*/ 2147483647 h 1141"/>
                <a:gd name="T56" fmla="*/ 2147483647 w 947"/>
                <a:gd name="T57" fmla="*/ 2147483647 h 1141"/>
                <a:gd name="T58" fmla="*/ 2147483647 w 947"/>
                <a:gd name="T59" fmla="*/ 2147483647 h 1141"/>
                <a:gd name="T60" fmla="*/ 2147483647 w 947"/>
                <a:gd name="T61" fmla="*/ 2147483647 h 1141"/>
                <a:gd name="T62" fmla="*/ 2147483647 w 947"/>
                <a:gd name="T63" fmla="*/ 2147483647 h 1141"/>
                <a:gd name="T64" fmla="*/ 2147483647 w 947"/>
                <a:gd name="T65" fmla="*/ 2147483647 h 1141"/>
                <a:gd name="T66" fmla="*/ 2147483647 w 947"/>
                <a:gd name="T67" fmla="*/ 2147483647 h 1141"/>
                <a:gd name="T68" fmla="*/ 2147483647 w 947"/>
                <a:gd name="T69" fmla="*/ 2147483647 h 1141"/>
                <a:gd name="T70" fmla="*/ 2147483647 w 947"/>
                <a:gd name="T71" fmla="*/ 2147483647 h 1141"/>
                <a:gd name="T72" fmla="*/ 2147483647 w 947"/>
                <a:gd name="T73" fmla="*/ 2147483647 h 1141"/>
                <a:gd name="T74" fmla="*/ 2147483647 w 947"/>
                <a:gd name="T75" fmla="*/ 2147483647 h 1141"/>
                <a:gd name="T76" fmla="*/ 2147483647 w 947"/>
                <a:gd name="T77" fmla="*/ 2147483647 h 1141"/>
                <a:gd name="T78" fmla="*/ 2147483647 w 947"/>
                <a:gd name="T79" fmla="*/ 2147483647 h 1141"/>
                <a:gd name="T80" fmla="*/ 2147483647 w 947"/>
                <a:gd name="T81" fmla="*/ 2147483647 h 1141"/>
                <a:gd name="T82" fmla="*/ 0 w 947"/>
                <a:gd name="T83" fmla="*/ 2147483647 h 1141"/>
                <a:gd name="T84" fmla="*/ 2147483647 w 947"/>
                <a:gd name="T85" fmla="*/ 2147483647 h 1141"/>
                <a:gd name="T86" fmla="*/ 2147483647 w 947"/>
                <a:gd name="T87" fmla="*/ 2147483647 h 1141"/>
                <a:gd name="T88" fmla="*/ 2147483647 w 947"/>
                <a:gd name="T89" fmla="*/ 2147483647 h 1141"/>
                <a:gd name="T90" fmla="*/ 2147483647 w 947"/>
                <a:gd name="T91" fmla="*/ 2147483647 h 1141"/>
                <a:gd name="T92" fmla="*/ 2147483647 w 947"/>
                <a:gd name="T93" fmla="*/ 2147483647 h 1141"/>
                <a:gd name="T94" fmla="*/ 2147483647 w 947"/>
                <a:gd name="T95" fmla="*/ 2147483647 h 1141"/>
                <a:gd name="T96" fmla="*/ 2147483647 w 947"/>
                <a:gd name="T97" fmla="*/ 2147483647 h 1141"/>
                <a:gd name="T98" fmla="*/ 2147483647 w 947"/>
                <a:gd name="T99" fmla="*/ 2147483647 h 1141"/>
                <a:gd name="T100" fmla="*/ 2147483647 w 947"/>
                <a:gd name="T101" fmla="*/ 2147483647 h 1141"/>
                <a:gd name="T102" fmla="*/ 2147483647 w 947"/>
                <a:gd name="T103" fmla="*/ 2147483647 h 1141"/>
                <a:gd name="T104" fmla="*/ 2147483647 w 947"/>
                <a:gd name="T105" fmla="*/ 2147483647 h 1141"/>
                <a:gd name="T106" fmla="*/ 2147483647 w 947"/>
                <a:gd name="T107" fmla="*/ 2147483647 h 114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47" h="1141">
                  <a:moveTo>
                    <a:pt x="326" y="182"/>
                  </a:moveTo>
                  <a:lnTo>
                    <a:pt x="334" y="185"/>
                  </a:lnTo>
                  <a:lnTo>
                    <a:pt x="340" y="188"/>
                  </a:lnTo>
                  <a:lnTo>
                    <a:pt x="345" y="192"/>
                  </a:lnTo>
                  <a:lnTo>
                    <a:pt x="349" y="195"/>
                  </a:lnTo>
                  <a:lnTo>
                    <a:pt x="359" y="206"/>
                  </a:lnTo>
                  <a:lnTo>
                    <a:pt x="371" y="216"/>
                  </a:lnTo>
                  <a:lnTo>
                    <a:pt x="377" y="223"/>
                  </a:lnTo>
                  <a:lnTo>
                    <a:pt x="382" y="230"/>
                  </a:lnTo>
                  <a:lnTo>
                    <a:pt x="387" y="239"/>
                  </a:lnTo>
                  <a:lnTo>
                    <a:pt x="393" y="250"/>
                  </a:lnTo>
                  <a:lnTo>
                    <a:pt x="400" y="269"/>
                  </a:lnTo>
                  <a:lnTo>
                    <a:pt x="406" y="281"/>
                  </a:lnTo>
                  <a:lnTo>
                    <a:pt x="409" y="285"/>
                  </a:lnTo>
                  <a:lnTo>
                    <a:pt x="415" y="288"/>
                  </a:lnTo>
                  <a:lnTo>
                    <a:pt x="421" y="290"/>
                  </a:lnTo>
                  <a:lnTo>
                    <a:pt x="429" y="291"/>
                  </a:lnTo>
                  <a:lnTo>
                    <a:pt x="440" y="292"/>
                  </a:lnTo>
                  <a:lnTo>
                    <a:pt x="450" y="294"/>
                  </a:lnTo>
                  <a:lnTo>
                    <a:pt x="461" y="297"/>
                  </a:lnTo>
                  <a:lnTo>
                    <a:pt x="471" y="300"/>
                  </a:lnTo>
                  <a:lnTo>
                    <a:pt x="477" y="304"/>
                  </a:lnTo>
                  <a:lnTo>
                    <a:pt x="481" y="307"/>
                  </a:lnTo>
                  <a:lnTo>
                    <a:pt x="485" y="310"/>
                  </a:lnTo>
                  <a:lnTo>
                    <a:pt x="488" y="314"/>
                  </a:lnTo>
                  <a:lnTo>
                    <a:pt x="491" y="319"/>
                  </a:lnTo>
                  <a:lnTo>
                    <a:pt x="494" y="325"/>
                  </a:lnTo>
                  <a:lnTo>
                    <a:pt x="495" y="331"/>
                  </a:lnTo>
                  <a:lnTo>
                    <a:pt x="497" y="338"/>
                  </a:lnTo>
                  <a:lnTo>
                    <a:pt x="498" y="345"/>
                  </a:lnTo>
                  <a:lnTo>
                    <a:pt x="499" y="351"/>
                  </a:lnTo>
                  <a:lnTo>
                    <a:pt x="501" y="357"/>
                  </a:lnTo>
                  <a:lnTo>
                    <a:pt x="503" y="361"/>
                  </a:lnTo>
                  <a:lnTo>
                    <a:pt x="506" y="366"/>
                  </a:lnTo>
                  <a:lnTo>
                    <a:pt x="509" y="370"/>
                  </a:lnTo>
                  <a:lnTo>
                    <a:pt x="512" y="373"/>
                  </a:lnTo>
                  <a:lnTo>
                    <a:pt x="516" y="376"/>
                  </a:lnTo>
                  <a:lnTo>
                    <a:pt x="525" y="380"/>
                  </a:lnTo>
                  <a:lnTo>
                    <a:pt x="534" y="382"/>
                  </a:lnTo>
                  <a:lnTo>
                    <a:pt x="544" y="384"/>
                  </a:lnTo>
                  <a:lnTo>
                    <a:pt x="553" y="384"/>
                  </a:lnTo>
                  <a:lnTo>
                    <a:pt x="571" y="382"/>
                  </a:lnTo>
                  <a:lnTo>
                    <a:pt x="586" y="378"/>
                  </a:lnTo>
                  <a:lnTo>
                    <a:pt x="592" y="377"/>
                  </a:lnTo>
                  <a:lnTo>
                    <a:pt x="598" y="378"/>
                  </a:lnTo>
                  <a:lnTo>
                    <a:pt x="601" y="379"/>
                  </a:lnTo>
                  <a:lnTo>
                    <a:pt x="605" y="381"/>
                  </a:lnTo>
                  <a:lnTo>
                    <a:pt x="608" y="383"/>
                  </a:lnTo>
                  <a:lnTo>
                    <a:pt x="611" y="388"/>
                  </a:lnTo>
                  <a:lnTo>
                    <a:pt x="614" y="391"/>
                  </a:lnTo>
                  <a:lnTo>
                    <a:pt x="620" y="395"/>
                  </a:lnTo>
                  <a:lnTo>
                    <a:pt x="628" y="399"/>
                  </a:lnTo>
                  <a:lnTo>
                    <a:pt x="637" y="403"/>
                  </a:lnTo>
                  <a:lnTo>
                    <a:pt x="656" y="412"/>
                  </a:lnTo>
                  <a:lnTo>
                    <a:pt x="674" y="421"/>
                  </a:lnTo>
                  <a:lnTo>
                    <a:pt x="681" y="426"/>
                  </a:lnTo>
                  <a:lnTo>
                    <a:pt x="688" y="432"/>
                  </a:lnTo>
                  <a:lnTo>
                    <a:pt x="690" y="434"/>
                  </a:lnTo>
                  <a:lnTo>
                    <a:pt x="692" y="437"/>
                  </a:lnTo>
                  <a:lnTo>
                    <a:pt x="693" y="440"/>
                  </a:lnTo>
                  <a:lnTo>
                    <a:pt x="694" y="442"/>
                  </a:lnTo>
                  <a:lnTo>
                    <a:pt x="694" y="445"/>
                  </a:lnTo>
                  <a:lnTo>
                    <a:pt x="693" y="448"/>
                  </a:lnTo>
                  <a:lnTo>
                    <a:pt x="691" y="452"/>
                  </a:lnTo>
                  <a:lnTo>
                    <a:pt x="688" y="455"/>
                  </a:lnTo>
                  <a:lnTo>
                    <a:pt x="680" y="461"/>
                  </a:lnTo>
                  <a:lnTo>
                    <a:pt x="668" y="467"/>
                  </a:lnTo>
                  <a:lnTo>
                    <a:pt x="642" y="480"/>
                  </a:lnTo>
                  <a:lnTo>
                    <a:pt x="624" y="492"/>
                  </a:lnTo>
                  <a:lnTo>
                    <a:pt x="611" y="501"/>
                  </a:lnTo>
                  <a:lnTo>
                    <a:pt x="603" y="508"/>
                  </a:lnTo>
                  <a:lnTo>
                    <a:pt x="594" y="522"/>
                  </a:lnTo>
                  <a:lnTo>
                    <a:pt x="590" y="532"/>
                  </a:lnTo>
                  <a:lnTo>
                    <a:pt x="578" y="539"/>
                  </a:lnTo>
                  <a:lnTo>
                    <a:pt x="564" y="546"/>
                  </a:lnTo>
                  <a:lnTo>
                    <a:pt x="562" y="548"/>
                  </a:lnTo>
                  <a:lnTo>
                    <a:pt x="561" y="551"/>
                  </a:lnTo>
                  <a:lnTo>
                    <a:pt x="559" y="555"/>
                  </a:lnTo>
                  <a:lnTo>
                    <a:pt x="561" y="559"/>
                  </a:lnTo>
                  <a:lnTo>
                    <a:pt x="563" y="564"/>
                  </a:lnTo>
                  <a:lnTo>
                    <a:pt x="566" y="570"/>
                  </a:lnTo>
                  <a:lnTo>
                    <a:pt x="572" y="578"/>
                  </a:lnTo>
                  <a:lnTo>
                    <a:pt x="579" y="587"/>
                  </a:lnTo>
                  <a:lnTo>
                    <a:pt x="614" y="622"/>
                  </a:lnTo>
                  <a:lnTo>
                    <a:pt x="646" y="652"/>
                  </a:lnTo>
                  <a:lnTo>
                    <a:pt x="658" y="665"/>
                  </a:lnTo>
                  <a:lnTo>
                    <a:pt x="668" y="675"/>
                  </a:lnTo>
                  <a:lnTo>
                    <a:pt x="675" y="684"/>
                  </a:lnTo>
                  <a:lnTo>
                    <a:pt x="678" y="690"/>
                  </a:lnTo>
                  <a:lnTo>
                    <a:pt x="679" y="695"/>
                  </a:lnTo>
                  <a:lnTo>
                    <a:pt x="683" y="699"/>
                  </a:lnTo>
                  <a:lnTo>
                    <a:pt x="689" y="705"/>
                  </a:lnTo>
                  <a:lnTo>
                    <a:pt x="695" y="709"/>
                  </a:lnTo>
                  <a:lnTo>
                    <a:pt x="703" y="712"/>
                  </a:lnTo>
                  <a:lnTo>
                    <a:pt x="713" y="715"/>
                  </a:lnTo>
                  <a:lnTo>
                    <a:pt x="724" y="717"/>
                  </a:lnTo>
                  <a:lnTo>
                    <a:pt x="738" y="718"/>
                  </a:lnTo>
                  <a:lnTo>
                    <a:pt x="751" y="720"/>
                  </a:lnTo>
                  <a:lnTo>
                    <a:pt x="761" y="722"/>
                  </a:lnTo>
                  <a:lnTo>
                    <a:pt x="772" y="724"/>
                  </a:lnTo>
                  <a:lnTo>
                    <a:pt x="782" y="727"/>
                  </a:lnTo>
                  <a:lnTo>
                    <a:pt x="803" y="734"/>
                  </a:lnTo>
                  <a:lnTo>
                    <a:pt x="828" y="745"/>
                  </a:lnTo>
                  <a:lnTo>
                    <a:pt x="842" y="751"/>
                  </a:lnTo>
                  <a:lnTo>
                    <a:pt x="855" y="758"/>
                  </a:lnTo>
                  <a:lnTo>
                    <a:pt x="868" y="767"/>
                  </a:lnTo>
                  <a:lnTo>
                    <a:pt x="879" y="776"/>
                  </a:lnTo>
                  <a:lnTo>
                    <a:pt x="888" y="786"/>
                  </a:lnTo>
                  <a:lnTo>
                    <a:pt x="895" y="796"/>
                  </a:lnTo>
                  <a:lnTo>
                    <a:pt x="902" y="807"/>
                  </a:lnTo>
                  <a:lnTo>
                    <a:pt x="906" y="817"/>
                  </a:lnTo>
                  <a:lnTo>
                    <a:pt x="910" y="829"/>
                  </a:lnTo>
                  <a:lnTo>
                    <a:pt x="915" y="840"/>
                  </a:lnTo>
                  <a:lnTo>
                    <a:pt x="923" y="852"/>
                  </a:lnTo>
                  <a:lnTo>
                    <a:pt x="929" y="863"/>
                  </a:lnTo>
                  <a:lnTo>
                    <a:pt x="936" y="875"/>
                  </a:lnTo>
                  <a:lnTo>
                    <a:pt x="942" y="884"/>
                  </a:lnTo>
                  <a:lnTo>
                    <a:pt x="946" y="894"/>
                  </a:lnTo>
                  <a:lnTo>
                    <a:pt x="947" y="900"/>
                  </a:lnTo>
                  <a:lnTo>
                    <a:pt x="947" y="903"/>
                  </a:lnTo>
                  <a:lnTo>
                    <a:pt x="946" y="905"/>
                  </a:lnTo>
                  <a:lnTo>
                    <a:pt x="944" y="908"/>
                  </a:lnTo>
                  <a:lnTo>
                    <a:pt x="941" y="911"/>
                  </a:lnTo>
                  <a:lnTo>
                    <a:pt x="933" y="917"/>
                  </a:lnTo>
                  <a:lnTo>
                    <a:pt x="925" y="921"/>
                  </a:lnTo>
                  <a:lnTo>
                    <a:pt x="908" y="930"/>
                  </a:lnTo>
                  <a:lnTo>
                    <a:pt x="895" y="936"/>
                  </a:lnTo>
                  <a:lnTo>
                    <a:pt x="886" y="934"/>
                  </a:lnTo>
                  <a:lnTo>
                    <a:pt x="858" y="918"/>
                  </a:lnTo>
                  <a:lnTo>
                    <a:pt x="831" y="900"/>
                  </a:lnTo>
                  <a:lnTo>
                    <a:pt x="806" y="892"/>
                  </a:lnTo>
                  <a:lnTo>
                    <a:pt x="787" y="863"/>
                  </a:lnTo>
                  <a:lnTo>
                    <a:pt x="762" y="842"/>
                  </a:lnTo>
                  <a:lnTo>
                    <a:pt x="734" y="822"/>
                  </a:lnTo>
                  <a:lnTo>
                    <a:pt x="707" y="803"/>
                  </a:lnTo>
                  <a:lnTo>
                    <a:pt x="681" y="794"/>
                  </a:lnTo>
                  <a:lnTo>
                    <a:pt x="653" y="770"/>
                  </a:lnTo>
                  <a:lnTo>
                    <a:pt x="630" y="745"/>
                  </a:lnTo>
                  <a:lnTo>
                    <a:pt x="601" y="724"/>
                  </a:lnTo>
                  <a:lnTo>
                    <a:pt x="575" y="701"/>
                  </a:lnTo>
                  <a:lnTo>
                    <a:pt x="550" y="683"/>
                  </a:lnTo>
                  <a:lnTo>
                    <a:pt x="522" y="662"/>
                  </a:lnTo>
                  <a:lnTo>
                    <a:pt x="495" y="644"/>
                  </a:lnTo>
                  <a:lnTo>
                    <a:pt x="469" y="625"/>
                  </a:lnTo>
                  <a:lnTo>
                    <a:pt x="441" y="597"/>
                  </a:lnTo>
                  <a:lnTo>
                    <a:pt x="449" y="571"/>
                  </a:lnTo>
                  <a:lnTo>
                    <a:pt x="434" y="545"/>
                  </a:lnTo>
                  <a:lnTo>
                    <a:pt x="426" y="519"/>
                  </a:lnTo>
                  <a:lnTo>
                    <a:pt x="421" y="494"/>
                  </a:lnTo>
                  <a:lnTo>
                    <a:pt x="395" y="473"/>
                  </a:lnTo>
                  <a:lnTo>
                    <a:pt x="366" y="455"/>
                  </a:lnTo>
                  <a:lnTo>
                    <a:pt x="340" y="439"/>
                  </a:lnTo>
                  <a:lnTo>
                    <a:pt x="315" y="423"/>
                  </a:lnTo>
                  <a:lnTo>
                    <a:pt x="287" y="402"/>
                  </a:lnTo>
                  <a:lnTo>
                    <a:pt x="260" y="382"/>
                  </a:lnTo>
                  <a:lnTo>
                    <a:pt x="234" y="363"/>
                  </a:lnTo>
                  <a:lnTo>
                    <a:pt x="206" y="343"/>
                  </a:lnTo>
                  <a:lnTo>
                    <a:pt x="201" y="335"/>
                  </a:lnTo>
                  <a:lnTo>
                    <a:pt x="188" y="317"/>
                  </a:lnTo>
                  <a:lnTo>
                    <a:pt x="172" y="291"/>
                  </a:lnTo>
                  <a:lnTo>
                    <a:pt x="151" y="266"/>
                  </a:lnTo>
                  <a:lnTo>
                    <a:pt x="139" y="237"/>
                  </a:lnTo>
                  <a:lnTo>
                    <a:pt x="112" y="185"/>
                  </a:lnTo>
                  <a:lnTo>
                    <a:pt x="98" y="160"/>
                  </a:lnTo>
                  <a:lnTo>
                    <a:pt x="71" y="144"/>
                  </a:lnTo>
                  <a:lnTo>
                    <a:pt x="43" y="128"/>
                  </a:lnTo>
                  <a:lnTo>
                    <a:pt x="17" y="105"/>
                  </a:lnTo>
                  <a:lnTo>
                    <a:pt x="0" y="83"/>
                  </a:lnTo>
                  <a:lnTo>
                    <a:pt x="1" y="81"/>
                  </a:lnTo>
                  <a:lnTo>
                    <a:pt x="2" y="79"/>
                  </a:lnTo>
                  <a:lnTo>
                    <a:pt x="4" y="75"/>
                  </a:lnTo>
                  <a:lnTo>
                    <a:pt x="12" y="64"/>
                  </a:lnTo>
                  <a:lnTo>
                    <a:pt x="22" y="50"/>
                  </a:lnTo>
                  <a:lnTo>
                    <a:pt x="38" y="35"/>
                  </a:lnTo>
                  <a:lnTo>
                    <a:pt x="48" y="27"/>
                  </a:lnTo>
                  <a:lnTo>
                    <a:pt x="60" y="21"/>
                  </a:lnTo>
                  <a:lnTo>
                    <a:pt x="74" y="15"/>
                  </a:lnTo>
                  <a:lnTo>
                    <a:pt x="86" y="10"/>
                  </a:lnTo>
                  <a:lnTo>
                    <a:pt x="108" y="3"/>
                  </a:lnTo>
                  <a:lnTo>
                    <a:pt x="118" y="1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1"/>
                  </a:lnTo>
                  <a:lnTo>
                    <a:pt x="130" y="5"/>
                  </a:lnTo>
                  <a:lnTo>
                    <a:pt x="138" y="11"/>
                  </a:lnTo>
                  <a:lnTo>
                    <a:pt x="144" y="15"/>
                  </a:lnTo>
                  <a:lnTo>
                    <a:pt x="148" y="20"/>
                  </a:lnTo>
                  <a:lnTo>
                    <a:pt x="151" y="24"/>
                  </a:lnTo>
                  <a:lnTo>
                    <a:pt x="152" y="29"/>
                  </a:lnTo>
                  <a:lnTo>
                    <a:pt x="153" y="34"/>
                  </a:lnTo>
                  <a:lnTo>
                    <a:pt x="154" y="39"/>
                  </a:lnTo>
                  <a:lnTo>
                    <a:pt x="153" y="47"/>
                  </a:lnTo>
                  <a:lnTo>
                    <a:pt x="153" y="57"/>
                  </a:lnTo>
                  <a:lnTo>
                    <a:pt x="153" y="62"/>
                  </a:lnTo>
                  <a:lnTo>
                    <a:pt x="154" y="66"/>
                  </a:lnTo>
                  <a:lnTo>
                    <a:pt x="156" y="71"/>
                  </a:lnTo>
                  <a:lnTo>
                    <a:pt x="160" y="76"/>
                  </a:lnTo>
                  <a:lnTo>
                    <a:pt x="174" y="96"/>
                  </a:lnTo>
                  <a:lnTo>
                    <a:pt x="190" y="116"/>
                  </a:lnTo>
                  <a:lnTo>
                    <a:pt x="198" y="125"/>
                  </a:lnTo>
                  <a:lnTo>
                    <a:pt x="209" y="133"/>
                  </a:lnTo>
                  <a:lnTo>
                    <a:pt x="219" y="141"/>
                  </a:lnTo>
                  <a:lnTo>
                    <a:pt x="232" y="146"/>
                  </a:lnTo>
                  <a:lnTo>
                    <a:pt x="254" y="153"/>
                  </a:lnTo>
                  <a:lnTo>
                    <a:pt x="279" y="163"/>
                  </a:lnTo>
                  <a:lnTo>
                    <a:pt x="304" y="172"/>
                  </a:lnTo>
                  <a:lnTo>
                    <a:pt x="326" y="182"/>
                  </a:lnTo>
                  <a:close/>
                  <a:moveTo>
                    <a:pt x="474" y="1141"/>
                  </a:moveTo>
                  <a:lnTo>
                    <a:pt x="446" y="1135"/>
                  </a:lnTo>
                  <a:lnTo>
                    <a:pt x="421" y="1116"/>
                  </a:lnTo>
                  <a:lnTo>
                    <a:pt x="395" y="1096"/>
                  </a:lnTo>
                  <a:lnTo>
                    <a:pt x="395" y="1070"/>
                  </a:lnTo>
                  <a:lnTo>
                    <a:pt x="421" y="1075"/>
                  </a:lnTo>
                  <a:lnTo>
                    <a:pt x="446" y="1088"/>
                  </a:lnTo>
                  <a:lnTo>
                    <a:pt x="474" y="1099"/>
                  </a:lnTo>
                  <a:lnTo>
                    <a:pt x="467" y="1127"/>
                  </a:lnTo>
                  <a:lnTo>
                    <a:pt x="474" y="1141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69" name="Freeform 37"/>
            <p:cNvSpPr>
              <a:spLocks noEditPoints="1"/>
            </p:cNvSpPr>
            <p:nvPr/>
          </p:nvSpPr>
          <p:spPr bwMode="auto">
            <a:xfrm>
              <a:off x="1000658" y="1916899"/>
              <a:ext cx="783170" cy="772584"/>
            </a:xfrm>
            <a:custGeom>
              <a:avLst/>
              <a:gdLst>
                <a:gd name="T0" fmla="*/ 2147483647 w 1330"/>
                <a:gd name="T1" fmla="*/ 2147483647 h 1313"/>
                <a:gd name="T2" fmla="*/ 2147483647 w 1330"/>
                <a:gd name="T3" fmla="*/ 2147483647 h 1313"/>
                <a:gd name="T4" fmla="*/ 2147483647 w 1330"/>
                <a:gd name="T5" fmla="*/ 2147483647 h 1313"/>
                <a:gd name="T6" fmla="*/ 2147483647 w 1330"/>
                <a:gd name="T7" fmla="*/ 2147483647 h 1313"/>
                <a:gd name="T8" fmla="*/ 2147483647 w 1330"/>
                <a:gd name="T9" fmla="*/ 2147483647 h 1313"/>
                <a:gd name="T10" fmla="*/ 2147483647 w 1330"/>
                <a:gd name="T11" fmla="*/ 2147483647 h 1313"/>
                <a:gd name="T12" fmla="*/ 2147483647 w 1330"/>
                <a:gd name="T13" fmla="*/ 2147483647 h 1313"/>
                <a:gd name="T14" fmla="*/ 2147483647 w 1330"/>
                <a:gd name="T15" fmla="*/ 2147483647 h 1313"/>
                <a:gd name="T16" fmla="*/ 2147483647 w 1330"/>
                <a:gd name="T17" fmla="*/ 2147483647 h 1313"/>
                <a:gd name="T18" fmla="*/ 2147483647 w 1330"/>
                <a:gd name="T19" fmla="*/ 2147483647 h 1313"/>
                <a:gd name="T20" fmla="*/ 2147483647 w 1330"/>
                <a:gd name="T21" fmla="*/ 2147483647 h 1313"/>
                <a:gd name="T22" fmla="*/ 2147483647 w 1330"/>
                <a:gd name="T23" fmla="*/ 2147483647 h 1313"/>
                <a:gd name="T24" fmla="*/ 2147483647 w 1330"/>
                <a:gd name="T25" fmla="*/ 2147483647 h 1313"/>
                <a:gd name="T26" fmla="*/ 2147483647 w 1330"/>
                <a:gd name="T27" fmla="*/ 2147483647 h 1313"/>
                <a:gd name="T28" fmla="*/ 2147483647 w 1330"/>
                <a:gd name="T29" fmla="*/ 2147483647 h 1313"/>
                <a:gd name="T30" fmla="*/ 2147483647 w 1330"/>
                <a:gd name="T31" fmla="*/ 2147483647 h 1313"/>
                <a:gd name="T32" fmla="*/ 2147483647 w 1330"/>
                <a:gd name="T33" fmla="*/ 2147483647 h 1313"/>
                <a:gd name="T34" fmla="*/ 2147483647 w 1330"/>
                <a:gd name="T35" fmla="*/ 2147483647 h 1313"/>
                <a:gd name="T36" fmla="*/ 2147483647 w 1330"/>
                <a:gd name="T37" fmla="*/ 2147483647 h 1313"/>
                <a:gd name="T38" fmla="*/ 2147483647 w 1330"/>
                <a:gd name="T39" fmla="*/ 2147483647 h 1313"/>
                <a:gd name="T40" fmla="*/ 2147483647 w 1330"/>
                <a:gd name="T41" fmla="*/ 2147483647 h 1313"/>
                <a:gd name="T42" fmla="*/ 2147483647 w 1330"/>
                <a:gd name="T43" fmla="*/ 2147483647 h 1313"/>
                <a:gd name="T44" fmla="*/ 2147483647 w 1330"/>
                <a:gd name="T45" fmla="*/ 2147483647 h 1313"/>
                <a:gd name="T46" fmla="*/ 2147483647 w 1330"/>
                <a:gd name="T47" fmla="*/ 2147483647 h 1313"/>
                <a:gd name="T48" fmla="*/ 2147483647 w 1330"/>
                <a:gd name="T49" fmla="*/ 2147483647 h 1313"/>
                <a:gd name="T50" fmla="*/ 2147483647 w 1330"/>
                <a:gd name="T51" fmla="*/ 2147483647 h 1313"/>
                <a:gd name="T52" fmla="*/ 2147483647 w 1330"/>
                <a:gd name="T53" fmla="*/ 2147483647 h 1313"/>
                <a:gd name="T54" fmla="*/ 2147483647 w 1330"/>
                <a:gd name="T55" fmla="*/ 2147483647 h 1313"/>
                <a:gd name="T56" fmla="*/ 2147483647 w 1330"/>
                <a:gd name="T57" fmla="*/ 2147483647 h 1313"/>
                <a:gd name="T58" fmla="*/ 2147483647 w 1330"/>
                <a:gd name="T59" fmla="*/ 2147483647 h 1313"/>
                <a:gd name="T60" fmla="*/ 2147483647 w 1330"/>
                <a:gd name="T61" fmla="*/ 2147483647 h 1313"/>
                <a:gd name="T62" fmla="*/ 2147483647 w 1330"/>
                <a:gd name="T63" fmla="*/ 2147483647 h 1313"/>
                <a:gd name="T64" fmla="*/ 2147483647 w 1330"/>
                <a:gd name="T65" fmla="*/ 2147483647 h 1313"/>
                <a:gd name="T66" fmla="*/ 2147483647 w 1330"/>
                <a:gd name="T67" fmla="*/ 2147483647 h 1313"/>
                <a:gd name="T68" fmla="*/ 2147483647 w 1330"/>
                <a:gd name="T69" fmla="*/ 2147483647 h 1313"/>
                <a:gd name="T70" fmla="*/ 2147483647 w 1330"/>
                <a:gd name="T71" fmla="*/ 2147483647 h 1313"/>
                <a:gd name="T72" fmla="*/ 2147483647 w 1330"/>
                <a:gd name="T73" fmla="*/ 2147483647 h 1313"/>
                <a:gd name="T74" fmla="*/ 2147483647 w 1330"/>
                <a:gd name="T75" fmla="*/ 2147483647 h 1313"/>
                <a:gd name="T76" fmla="*/ 2147483647 w 1330"/>
                <a:gd name="T77" fmla="*/ 2147483647 h 1313"/>
                <a:gd name="T78" fmla="*/ 2147483647 w 1330"/>
                <a:gd name="T79" fmla="*/ 2147483647 h 1313"/>
                <a:gd name="T80" fmla="*/ 2147483647 w 1330"/>
                <a:gd name="T81" fmla="*/ 2147483647 h 1313"/>
                <a:gd name="T82" fmla="*/ 2147483647 w 1330"/>
                <a:gd name="T83" fmla="*/ 2147483647 h 1313"/>
                <a:gd name="T84" fmla="*/ 2147483647 w 1330"/>
                <a:gd name="T85" fmla="*/ 2147483647 h 1313"/>
                <a:gd name="T86" fmla="*/ 2147483647 w 1330"/>
                <a:gd name="T87" fmla="*/ 2147483647 h 1313"/>
                <a:gd name="T88" fmla="*/ 2147483647 w 1330"/>
                <a:gd name="T89" fmla="*/ 2147483647 h 1313"/>
                <a:gd name="T90" fmla="*/ 2147483647 w 1330"/>
                <a:gd name="T91" fmla="*/ 2147483647 h 1313"/>
                <a:gd name="T92" fmla="*/ 2147483647 w 1330"/>
                <a:gd name="T93" fmla="*/ 2147483647 h 1313"/>
                <a:gd name="T94" fmla="*/ 2147483647 w 1330"/>
                <a:gd name="T95" fmla="*/ 2147483647 h 1313"/>
                <a:gd name="T96" fmla="*/ 2147483647 w 1330"/>
                <a:gd name="T97" fmla="*/ 2147483647 h 1313"/>
                <a:gd name="T98" fmla="*/ 2147483647 w 1330"/>
                <a:gd name="T99" fmla="*/ 2147483647 h 1313"/>
                <a:gd name="T100" fmla="*/ 2147483647 w 1330"/>
                <a:gd name="T101" fmla="*/ 2147483647 h 1313"/>
                <a:gd name="T102" fmla="*/ 2147483647 w 1330"/>
                <a:gd name="T103" fmla="*/ 2147483647 h 1313"/>
                <a:gd name="T104" fmla="*/ 2147483647 w 1330"/>
                <a:gd name="T105" fmla="*/ 2147483647 h 1313"/>
                <a:gd name="T106" fmla="*/ 2147483647 w 1330"/>
                <a:gd name="T107" fmla="*/ 2147483647 h 1313"/>
                <a:gd name="T108" fmla="*/ 2147483647 w 1330"/>
                <a:gd name="T109" fmla="*/ 2147483647 h 1313"/>
                <a:gd name="T110" fmla="*/ 2147483647 w 1330"/>
                <a:gd name="T111" fmla="*/ 2147483647 h 1313"/>
                <a:gd name="T112" fmla="*/ 2147483647 w 1330"/>
                <a:gd name="T113" fmla="*/ 2147483647 h 1313"/>
                <a:gd name="T114" fmla="*/ 2147483647 w 1330"/>
                <a:gd name="T115" fmla="*/ 2147483647 h 1313"/>
                <a:gd name="T116" fmla="*/ 2147483647 w 1330"/>
                <a:gd name="T117" fmla="*/ 2147483647 h 131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30" h="1313">
                  <a:moveTo>
                    <a:pt x="1196" y="1197"/>
                  </a:moveTo>
                  <a:lnTo>
                    <a:pt x="1211" y="1218"/>
                  </a:lnTo>
                  <a:lnTo>
                    <a:pt x="1199" y="1202"/>
                  </a:lnTo>
                  <a:lnTo>
                    <a:pt x="1195" y="1203"/>
                  </a:lnTo>
                  <a:lnTo>
                    <a:pt x="969" y="1201"/>
                  </a:lnTo>
                  <a:lnTo>
                    <a:pt x="961" y="1207"/>
                  </a:lnTo>
                  <a:lnTo>
                    <a:pt x="941" y="1223"/>
                  </a:lnTo>
                  <a:lnTo>
                    <a:pt x="930" y="1232"/>
                  </a:lnTo>
                  <a:lnTo>
                    <a:pt x="921" y="1242"/>
                  </a:lnTo>
                  <a:lnTo>
                    <a:pt x="914" y="1251"/>
                  </a:lnTo>
                  <a:lnTo>
                    <a:pt x="909" y="1257"/>
                  </a:lnTo>
                  <a:lnTo>
                    <a:pt x="908" y="1265"/>
                  </a:lnTo>
                  <a:lnTo>
                    <a:pt x="906" y="1275"/>
                  </a:lnTo>
                  <a:lnTo>
                    <a:pt x="904" y="1287"/>
                  </a:lnTo>
                  <a:lnTo>
                    <a:pt x="900" y="1297"/>
                  </a:lnTo>
                  <a:lnTo>
                    <a:pt x="897" y="1303"/>
                  </a:lnTo>
                  <a:lnTo>
                    <a:pt x="893" y="1307"/>
                  </a:lnTo>
                  <a:lnTo>
                    <a:pt x="887" y="1310"/>
                  </a:lnTo>
                  <a:lnTo>
                    <a:pt x="881" y="1312"/>
                  </a:lnTo>
                  <a:lnTo>
                    <a:pt x="875" y="1313"/>
                  </a:lnTo>
                  <a:lnTo>
                    <a:pt x="866" y="1313"/>
                  </a:lnTo>
                  <a:lnTo>
                    <a:pt x="856" y="1311"/>
                  </a:lnTo>
                  <a:lnTo>
                    <a:pt x="845" y="1307"/>
                  </a:lnTo>
                  <a:lnTo>
                    <a:pt x="834" y="1302"/>
                  </a:lnTo>
                  <a:lnTo>
                    <a:pt x="823" y="1296"/>
                  </a:lnTo>
                  <a:lnTo>
                    <a:pt x="815" y="1290"/>
                  </a:lnTo>
                  <a:lnTo>
                    <a:pt x="808" y="1285"/>
                  </a:lnTo>
                  <a:lnTo>
                    <a:pt x="796" y="1272"/>
                  </a:lnTo>
                  <a:lnTo>
                    <a:pt x="786" y="1261"/>
                  </a:lnTo>
                  <a:lnTo>
                    <a:pt x="780" y="1255"/>
                  </a:lnTo>
                  <a:lnTo>
                    <a:pt x="775" y="1251"/>
                  </a:lnTo>
                  <a:lnTo>
                    <a:pt x="769" y="1247"/>
                  </a:lnTo>
                  <a:lnTo>
                    <a:pt x="762" y="1244"/>
                  </a:lnTo>
                  <a:lnTo>
                    <a:pt x="755" y="1242"/>
                  </a:lnTo>
                  <a:lnTo>
                    <a:pt x="747" y="1241"/>
                  </a:lnTo>
                  <a:lnTo>
                    <a:pt x="737" y="1241"/>
                  </a:lnTo>
                  <a:lnTo>
                    <a:pt x="726" y="1242"/>
                  </a:lnTo>
                  <a:lnTo>
                    <a:pt x="687" y="1248"/>
                  </a:lnTo>
                  <a:lnTo>
                    <a:pt x="664" y="1253"/>
                  </a:lnTo>
                  <a:lnTo>
                    <a:pt x="655" y="1255"/>
                  </a:lnTo>
                  <a:lnTo>
                    <a:pt x="649" y="1260"/>
                  </a:lnTo>
                  <a:lnTo>
                    <a:pt x="642" y="1266"/>
                  </a:lnTo>
                  <a:lnTo>
                    <a:pt x="635" y="1273"/>
                  </a:lnTo>
                  <a:lnTo>
                    <a:pt x="625" y="1285"/>
                  </a:lnTo>
                  <a:lnTo>
                    <a:pt x="617" y="1295"/>
                  </a:lnTo>
                  <a:lnTo>
                    <a:pt x="610" y="1304"/>
                  </a:lnTo>
                  <a:lnTo>
                    <a:pt x="606" y="1309"/>
                  </a:lnTo>
                  <a:lnTo>
                    <a:pt x="602" y="1305"/>
                  </a:lnTo>
                  <a:lnTo>
                    <a:pt x="595" y="1298"/>
                  </a:lnTo>
                  <a:lnTo>
                    <a:pt x="585" y="1289"/>
                  </a:lnTo>
                  <a:lnTo>
                    <a:pt x="573" y="1278"/>
                  </a:lnTo>
                  <a:lnTo>
                    <a:pt x="565" y="1273"/>
                  </a:lnTo>
                  <a:lnTo>
                    <a:pt x="557" y="1269"/>
                  </a:lnTo>
                  <a:lnTo>
                    <a:pt x="546" y="1265"/>
                  </a:lnTo>
                  <a:lnTo>
                    <a:pt x="535" y="1262"/>
                  </a:lnTo>
                  <a:lnTo>
                    <a:pt x="510" y="1254"/>
                  </a:lnTo>
                  <a:lnTo>
                    <a:pt x="480" y="1245"/>
                  </a:lnTo>
                  <a:lnTo>
                    <a:pt x="472" y="1242"/>
                  </a:lnTo>
                  <a:lnTo>
                    <a:pt x="465" y="1237"/>
                  </a:lnTo>
                  <a:lnTo>
                    <a:pt x="459" y="1233"/>
                  </a:lnTo>
                  <a:lnTo>
                    <a:pt x="453" y="1229"/>
                  </a:lnTo>
                  <a:lnTo>
                    <a:pt x="443" y="1219"/>
                  </a:lnTo>
                  <a:lnTo>
                    <a:pt x="434" y="1208"/>
                  </a:lnTo>
                  <a:lnTo>
                    <a:pt x="426" y="1198"/>
                  </a:lnTo>
                  <a:lnTo>
                    <a:pt x="418" y="1187"/>
                  </a:lnTo>
                  <a:lnTo>
                    <a:pt x="410" y="1178"/>
                  </a:lnTo>
                  <a:lnTo>
                    <a:pt x="401" y="1169"/>
                  </a:lnTo>
                  <a:lnTo>
                    <a:pt x="391" y="1160"/>
                  </a:lnTo>
                  <a:lnTo>
                    <a:pt x="375" y="1144"/>
                  </a:lnTo>
                  <a:lnTo>
                    <a:pt x="356" y="1124"/>
                  </a:lnTo>
                  <a:lnTo>
                    <a:pt x="335" y="1101"/>
                  </a:lnTo>
                  <a:lnTo>
                    <a:pt x="315" y="1078"/>
                  </a:lnTo>
                  <a:lnTo>
                    <a:pt x="295" y="1055"/>
                  </a:lnTo>
                  <a:lnTo>
                    <a:pt x="280" y="1033"/>
                  </a:lnTo>
                  <a:lnTo>
                    <a:pt x="267" y="1014"/>
                  </a:lnTo>
                  <a:lnTo>
                    <a:pt x="259" y="999"/>
                  </a:lnTo>
                  <a:lnTo>
                    <a:pt x="253" y="986"/>
                  </a:lnTo>
                  <a:lnTo>
                    <a:pt x="251" y="976"/>
                  </a:lnTo>
                  <a:lnTo>
                    <a:pt x="250" y="967"/>
                  </a:lnTo>
                  <a:lnTo>
                    <a:pt x="251" y="957"/>
                  </a:lnTo>
                  <a:lnTo>
                    <a:pt x="254" y="947"/>
                  </a:lnTo>
                  <a:lnTo>
                    <a:pt x="260" y="935"/>
                  </a:lnTo>
                  <a:lnTo>
                    <a:pt x="265" y="920"/>
                  </a:lnTo>
                  <a:lnTo>
                    <a:pt x="267" y="913"/>
                  </a:lnTo>
                  <a:lnTo>
                    <a:pt x="268" y="906"/>
                  </a:lnTo>
                  <a:lnTo>
                    <a:pt x="269" y="899"/>
                  </a:lnTo>
                  <a:lnTo>
                    <a:pt x="269" y="893"/>
                  </a:lnTo>
                  <a:lnTo>
                    <a:pt x="266" y="881"/>
                  </a:lnTo>
                  <a:lnTo>
                    <a:pt x="263" y="871"/>
                  </a:lnTo>
                  <a:lnTo>
                    <a:pt x="253" y="858"/>
                  </a:lnTo>
                  <a:lnTo>
                    <a:pt x="249" y="853"/>
                  </a:lnTo>
                  <a:lnTo>
                    <a:pt x="242" y="847"/>
                  </a:lnTo>
                  <a:lnTo>
                    <a:pt x="223" y="830"/>
                  </a:lnTo>
                  <a:lnTo>
                    <a:pt x="197" y="808"/>
                  </a:lnTo>
                  <a:lnTo>
                    <a:pt x="166" y="786"/>
                  </a:lnTo>
                  <a:lnTo>
                    <a:pt x="154" y="778"/>
                  </a:lnTo>
                  <a:lnTo>
                    <a:pt x="144" y="774"/>
                  </a:lnTo>
                  <a:lnTo>
                    <a:pt x="141" y="774"/>
                  </a:lnTo>
                  <a:lnTo>
                    <a:pt x="139" y="774"/>
                  </a:lnTo>
                  <a:lnTo>
                    <a:pt x="136" y="775"/>
                  </a:lnTo>
                  <a:lnTo>
                    <a:pt x="134" y="776"/>
                  </a:lnTo>
                  <a:lnTo>
                    <a:pt x="127" y="779"/>
                  </a:lnTo>
                  <a:lnTo>
                    <a:pt x="120" y="781"/>
                  </a:lnTo>
                  <a:lnTo>
                    <a:pt x="115" y="782"/>
                  </a:lnTo>
                  <a:lnTo>
                    <a:pt x="109" y="781"/>
                  </a:lnTo>
                  <a:lnTo>
                    <a:pt x="100" y="780"/>
                  </a:lnTo>
                  <a:lnTo>
                    <a:pt x="91" y="779"/>
                  </a:lnTo>
                  <a:lnTo>
                    <a:pt x="81" y="775"/>
                  </a:lnTo>
                  <a:lnTo>
                    <a:pt x="73" y="772"/>
                  </a:lnTo>
                  <a:lnTo>
                    <a:pt x="66" y="768"/>
                  </a:lnTo>
                  <a:lnTo>
                    <a:pt x="59" y="763"/>
                  </a:lnTo>
                  <a:lnTo>
                    <a:pt x="53" y="758"/>
                  </a:lnTo>
                  <a:lnTo>
                    <a:pt x="49" y="752"/>
                  </a:lnTo>
                  <a:lnTo>
                    <a:pt x="45" y="747"/>
                  </a:lnTo>
                  <a:lnTo>
                    <a:pt x="40" y="742"/>
                  </a:lnTo>
                  <a:lnTo>
                    <a:pt x="36" y="732"/>
                  </a:lnTo>
                  <a:lnTo>
                    <a:pt x="33" y="724"/>
                  </a:lnTo>
                  <a:lnTo>
                    <a:pt x="32" y="718"/>
                  </a:lnTo>
                  <a:lnTo>
                    <a:pt x="32" y="716"/>
                  </a:lnTo>
                  <a:lnTo>
                    <a:pt x="33" y="699"/>
                  </a:lnTo>
                  <a:lnTo>
                    <a:pt x="36" y="658"/>
                  </a:lnTo>
                  <a:lnTo>
                    <a:pt x="39" y="607"/>
                  </a:lnTo>
                  <a:lnTo>
                    <a:pt x="41" y="563"/>
                  </a:lnTo>
                  <a:lnTo>
                    <a:pt x="42" y="546"/>
                  </a:lnTo>
                  <a:lnTo>
                    <a:pt x="44" y="535"/>
                  </a:lnTo>
                  <a:lnTo>
                    <a:pt x="44" y="525"/>
                  </a:lnTo>
                  <a:lnTo>
                    <a:pt x="41" y="517"/>
                  </a:lnTo>
                  <a:lnTo>
                    <a:pt x="38" y="510"/>
                  </a:lnTo>
                  <a:lnTo>
                    <a:pt x="32" y="501"/>
                  </a:lnTo>
                  <a:lnTo>
                    <a:pt x="24" y="491"/>
                  </a:lnTo>
                  <a:lnTo>
                    <a:pt x="11" y="477"/>
                  </a:lnTo>
                  <a:lnTo>
                    <a:pt x="5" y="470"/>
                  </a:lnTo>
                  <a:lnTo>
                    <a:pt x="2" y="462"/>
                  </a:lnTo>
                  <a:lnTo>
                    <a:pt x="0" y="459"/>
                  </a:lnTo>
                  <a:lnTo>
                    <a:pt x="0" y="455"/>
                  </a:lnTo>
                  <a:lnTo>
                    <a:pt x="0" y="452"/>
                  </a:lnTo>
                  <a:lnTo>
                    <a:pt x="2" y="449"/>
                  </a:lnTo>
                  <a:lnTo>
                    <a:pt x="5" y="443"/>
                  </a:lnTo>
                  <a:lnTo>
                    <a:pt x="10" y="436"/>
                  </a:lnTo>
                  <a:lnTo>
                    <a:pt x="16" y="430"/>
                  </a:lnTo>
                  <a:lnTo>
                    <a:pt x="24" y="424"/>
                  </a:lnTo>
                  <a:lnTo>
                    <a:pt x="42" y="413"/>
                  </a:lnTo>
                  <a:lnTo>
                    <a:pt x="63" y="403"/>
                  </a:lnTo>
                  <a:lnTo>
                    <a:pt x="85" y="393"/>
                  </a:lnTo>
                  <a:lnTo>
                    <a:pt x="106" y="384"/>
                  </a:lnTo>
                  <a:lnTo>
                    <a:pt x="112" y="382"/>
                  </a:lnTo>
                  <a:lnTo>
                    <a:pt x="115" y="380"/>
                  </a:lnTo>
                  <a:lnTo>
                    <a:pt x="119" y="376"/>
                  </a:lnTo>
                  <a:lnTo>
                    <a:pt x="121" y="373"/>
                  </a:lnTo>
                  <a:lnTo>
                    <a:pt x="123" y="369"/>
                  </a:lnTo>
                  <a:lnTo>
                    <a:pt x="125" y="366"/>
                  </a:lnTo>
                  <a:lnTo>
                    <a:pt x="126" y="362"/>
                  </a:lnTo>
                  <a:lnTo>
                    <a:pt x="126" y="357"/>
                  </a:lnTo>
                  <a:lnTo>
                    <a:pt x="126" y="348"/>
                  </a:lnTo>
                  <a:lnTo>
                    <a:pt x="124" y="339"/>
                  </a:lnTo>
                  <a:lnTo>
                    <a:pt x="121" y="329"/>
                  </a:lnTo>
                  <a:lnTo>
                    <a:pt x="117" y="319"/>
                  </a:lnTo>
                  <a:lnTo>
                    <a:pt x="106" y="300"/>
                  </a:lnTo>
                  <a:lnTo>
                    <a:pt x="95" y="282"/>
                  </a:lnTo>
                  <a:lnTo>
                    <a:pt x="83" y="267"/>
                  </a:lnTo>
                  <a:lnTo>
                    <a:pt x="75" y="258"/>
                  </a:lnTo>
                  <a:lnTo>
                    <a:pt x="71" y="250"/>
                  </a:lnTo>
                  <a:lnTo>
                    <a:pt x="69" y="244"/>
                  </a:lnTo>
                  <a:lnTo>
                    <a:pt x="69" y="238"/>
                  </a:lnTo>
                  <a:lnTo>
                    <a:pt x="70" y="230"/>
                  </a:lnTo>
                  <a:lnTo>
                    <a:pt x="75" y="211"/>
                  </a:lnTo>
                  <a:lnTo>
                    <a:pt x="83" y="187"/>
                  </a:lnTo>
                  <a:lnTo>
                    <a:pt x="85" y="174"/>
                  </a:lnTo>
                  <a:lnTo>
                    <a:pt x="87" y="163"/>
                  </a:lnTo>
                  <a:lnTo>
                    <a:pt x="84" y="156"/>
                  </a:lnTo>
                  <a:lnTo>
                    <a:pt x="82" y="150"/>
                  </a:lnTo>
                  <a:lnTo>
                    <a:pt x="76" y="142"/>
                  </a:lnTo>
                  <a:lnTo>
                    <a:pt x="73" y="140"/>
                  </a:lnTo>
                  <a:lnTo>
                    <a:pt x="77" y="14"/>
                  </a:lnTo>
                  <a:lnTo>
                    <a:pt x="71" y="7"/>
                  </a:lnTo>
                  <a:lnTo>
                    <a:pt x="73" y="4"/>
                  </a:lnTo>
                  <a:lnTo>
                    <a:pt x="74" y="0"/>
                  </a:lnTo>
                  <a:lnTo>
                    <a:pt x="76" y="2"/>
                  </a:lnTo>
                  <a:lnTo>
                    <a:pt x="97" y="32"/>
                  </a:lnTo>
                  <a:lnTo>
                    <a:pt x="108" y="57"/>
                  </a:lnTo>
                  <a:lnTo>
                    <a:pt x="115" y="83"/>
                  </a:lnTo>
                  <a:lnTo>
                    <a:pt x="125" y="112"/>
                  </a:lnTo>
                  <a:lnTo>
                    <a:pt x="145" y="138"/>
                  </a:lnTo>
                  <a:lnTo>
                    <a:pt x="175" y="161"/>
                  </a:lnTo>
                  <a:lnTo>
                    <a:pt x="200" y="182"/>
                  </a:lnTo>
                  <a:lnTo>
                    <a:pt x="228" y="184"/>
                  </a:lnTo>
                  <a:lnTo>
                    <a:pt x="254" y="202"/>
                  </a:lnTo>
                  <a:lnTo>
                    <a:pt x="281" y="220"/>
                  </a:lnTo>
                  <a:lnTo>
                    <a:pt x="299" y="246"/>
                  </a:lnTo>
                  <a:lnTo>
                    <a:pt x="304" y="272"/>
                  </a:lnTo>
                  <a:lnTo>
                    <a:pt x="320" y="290"/>
                  </a:lnTo>
                  <a:lnTo>
                    <a:pt x="320" y="264"/>
                  </a:lnTo>
                  <a:lnTo>
                    <a:pt x="306" y="236"/>
                  </a:lnTo>
                  <a:lnTo>
                    <a:pt x="299" y="210"/>
                  </a:lnTo>
                  <a:lnTo>
                    <a:pt x="272" y="184"/>
                  </a:lnTo>
                  <a:lnTo>
                    <a:pt x="267" y="156"/>
                  </a:lnTo>
                  <a:lnTo>
                    <a:pt x="281" y="130"/>
                  </a:lnTo>
                  <a:lnTo>
                    <a:pt x="306" y="122"/>
                  </a:lnTo>
                  <a:lnTo>
                    <a:pt x="334" y="127"/>
                  </a:lnTo>
                  <a:lnTo>
                    <a:pt x="360" y="124"/>
                  </a:lnTo>
                  <a:lnTo>
                    <a:pt x="366" y="153"/>
                  </a:lnTo>
                  <a:lnTo>
                    <a:pt x="391" y="168"/>
                  </a:lnTo>
                  <a:lnTo>
                    <a:pt x="420" y="192"/>
                  </a:lnTo>
                  <a:lnTo>
                    <a:pt x="446" y="210"/>
                  </a:lnTo>
                  <a:lnTo>
                    <a:pt x="456" y="236"/>
                  </a:lnTo>
                  <a:lnTo>
                    <a:pt x="456" y="264"/>
                  </a:lnTo>
                  <a:lnTo>
                    <a:pt x="467" y="290"/>
                  </a:lnTo>
                  <a:lnTo>
                    <a:pt x="477" y="319"/>
                  </a:lnTo>
                  <a:lnTo>
                    <a:pt x="505" y="334"/>
                  </a:lnTo>
                  <a:lnTo>
                    <a:pt x="531" y="347"/>
                  </a:lnTo>
                  <a:lnTo>
                    <a:pt x="557" y="347"/>
                  </a:lnTo>
                  <a:lnTo>
                    <a:pt x="585" y="342"/>
                  </a:lnTo>
                  <a:lnTo>
                    <a:pt x="611" y="350"/>
                  </a:lnTo>
                  <a:lnTo>
                    <a:pt x="638" y="373"/>
                  </a:lnTo>
                  <a:lnTo>
                    <a:pt x="666" y="396"/>
                  </a:lnTo>
                  <a:lnTo>
                    <a:pt x="691" y="419"/>
                  </a:lnTo>
                  <a:lnTo>
                    <a:pt x="719" y="435"/>
                  </a:lnTo>
                  <a:lnTo>
                    <a:pt x="746" y="464"/>
                  </a:lnTo>
                  <a:lnTo>
                    <a:pt x="743" y="490"/>
                  </a:lnTo>
                  <a:lnTo>
                    <a:pt x="751" y="500"/>
                  </a:lnTo>
                  <a:lnTo>
                    <a:pt x="761" y="525"/>
                  </a:lnTo>
                  <a:lnTo>
                    <a:pt x="758" y="554"/>
                  </a:lnTo>
                  <a:lnTo>
                    <a:pt x="761" y="559"/>
                  </a:lnTo>
                  <a:lnTo>
                    <a:pt x="774" y="588"/>
                  </a:lnTo>
                  <a:lnTo>
                    <a:pt x="802" y="606"/>
                  </a:lnTo>
                  <a:lnTo>
                    <a:pt x="825" y="632"/>
                  </a:lnTo>
                  <a:lnTo>
                    <a:pt x="854" y="658"/>
                  </a:lnTo>
                  <a:lnTo>
                    <a:pt x="880" y="674"/>
                  </a:lnTo>
                  <a:lnTo>
                    <a:pt x="906" y="674"/>
                  </a:lnTo>
                  <a:lnTo>
                    <a:pt x="935" y="668"/>
                  </a:lnTo>
                  <a:lnTo>
                    <a:pt x="960" y="674"/>
                  </a:lnTo>
                  <a:lnTo>
                    <a:pt x="986" y="674"/>
                  </a:lnTo>
                  <a:lnTo>
                    <a:pt x="1014" y="681"/>
                  </a:lnTo>
                  <a:lnTo>
                    <a:pt x="1037" y="707"/>
                  </a:lnTo>
                  <a:lnTo>
                    <a:pt x="1062" y="736"/>
                  </a:lnTo>
                  <a:lnTo>
                    <a:pt x="1076" y="764"/>
                  </a:lnTo>
                  <a:lnTo>
                    <a:pt x="1048" y="787"/>
                  </a:lnTo>
                  <a:lnTo>
                    <a:pt x="1023" y="803"/>
                  </a:lnTo>
                  <a:lnTo>
                    <a:pt x="993" y="816"/>
                  </a:lnTo>
                  <a:lnTo>
                    <a:pt x="968" y="829"/>
                  </a:lnTo>
                  <a:lnTo>
                    <a:pt x="940" y="842"/>
                  </a:lnTo>
                  <a:lnTo>
                    <a:pt x="914" y="850"/>
                  </a:lnTo>
                  <a:lnTo>
                    <a:pt x="887" y="868"/>
                  </a:lnTo>
                  <a:lnTo>
                    <a:pt x="859" y="845"/>
                  </a:lnTo>
                  <a:lnTo>
                    <a:pt x="844" y="845"/>
                  </a:lnTo>
                  <a:lnTo>
                    <a:pt x="870" y="863"/>
                  </a:lnTo>
                  <a:lnTo>
                    <a:pt x="898" y="878"/>
                  </a:lnTo>
                  <a:lnTo>
                    <a:pt x="926" y="855"/>
                  </a:lnTo>
                  <a:lnTo>
                    <a:pt x="952" y="855"/>
                  </a:lnTo>
                  <a:lnTo>
                    <a:pt x="979" y="845"/>
                  </a:lnTo>
                  <a:lnTo>
                    <a:pt x="1004" y="842"/>
                  </a:lnTo>
                  <a:lnTo>
                    <a:pt x="1032" y="824"/>
                  </a:lnTo>
                  <a:lnTo>
                    <a:pt x="1058" y="806"/>
                  </a:lnTo>
                  <a:lnTo>
                    <a:pt x="1087" y="795"/>
                  </a:lnTo>
                  <a:lnTo>
                    <a:pt x="1113" y="774"/>
                  </a:lnTo>
                  <a:lnTo>
                    <a:pt x="1141" y="757"/>
                  </a:lnTo>
                  <a:lnTo>
                    <a:pt x="1168" y="744"/>
                  </a:lnTo>
                  <a:lnTo>
                    <a:pt x="1196" y="751"/>
                  </a:lnTo>
                  <a:lnTo>
                    <a:pt x="1221" y="772"/>
                  </a:lnTo>
                  <a:lnTo>
                    <a:pt x="1247" y="795"/>
                  </a:lnTo>
                  <a:lnTo>
                    <a:pt x="1258" y="824"/>
                  </a:lnTo>
                  <a:lnTo>
                    <a:pt x="1283" y="818"/>
                  </a:lnTo>
                  <a:lnTo>
                    <a:pt x="1309" y="845"/>
                  </a:lnTo>
                  <a:lnTo>
                    <a:pt x="1315" y="870"/>
                  </a:lnTo>
                  <a:lnTo>
                    <a:pt x="1320" y="898"/>
                  </a:lnTo>
                  <a:lnTo>
                    <a:pt x="1327" y="925"/>
                  </a:lnTo>
                  <a:lnTo>
                    <a:pt x="1330" y="933"/>
                  </a:lnTo>
                  <a:lnTo>
                    <a:pt x="1302" y="937"/>
                  </a:lnTo>
                  <a:lnTo>
                    <a:pt x="1276" y="948"/>
                  </a:lnTo>
                  <a:lnTo>
                    <a:pt x="1250" y="948"/>
                  </a:lnTo>
                  <a:lnTo>
                    <a:pt x="1237" y="974"/>
                  </a:lnTo>
                  <a:lnTo>
                    <a:pt x="1209" y="995"/>
                  </a:lnTo>
                  <a:lnTo>
                    <a:pt x="1182" y="1010"/>
                  </a:lnTo>
                  <a:lnTo>
                    <a:pt x="1157" y="1025"/>
                  </a:lnTo>
                  <a:lnTo>
                    <a:pt x="1182" y="1018"/>
                  </a:lnTo>
                  <a:lnTo>
                    <a:pt x="1209" y="1029"/>
                  </a:lnTo>
                  <a:lnTo>
                    <a:pt x="1193" y="1054"/>
                  </a:lnTo>
                  <a:lnTo>
                    <a:pt x="1165" y="1059"/>
                  </a:lnTo>
                  <a:lnTo>
                    <a:pt x="1175" y="1067"/>
                  </a:lnTo>
                  <a:lnTo>
                    <a:pt x="1201" y="1067"/>
                  </a:lnTo>
                  <a:lnTo>
                    <a:pt x="1230" y="1073"/>
                  </a:lnTo>
                  <a:lnTo>
                    <a:pt x="1255" y="1090"/>
                  </a:lnTo>
                  <a:lnTo>
                    <a:pt x="1230" y="1108"/>
                  </a:lnTo>
                  <a:lnTo>
                    <a:pt x="1201" y="1114"/>
                  </a:lnTo>
                  <a:lnTo>
                    <a:pt x="1175" y="1090"/>
                  </a:lnTo>
                  <a:lnTo>
                    <a:pt x="1175" y="1101"/>
                  </a:lnTo>
                  <a:lnTo>
                    <a:pt x="1191" y="1129"/>
                  </a:lnTo>
                  <a:lnTo>
                    <a:pt x="1182" y="1158"/>
                  </a:lnTo>
                  <a:lnTo>
                    <a:pt x="1170" y="1184"/>
                  </a:lnTo>
                  <a:lnTo>
                    <a:pt x="1196" y="1197"/>
                  </a:lnTo>
                  <a:close/>
                  <a:moveTo>
                    <a:pt x="1299" y="1029"/>
                  </a:moveTo>
                  <a:lnTo>
                    <a:pt x="1311" y="1054"/>
                  </a:lnTo>
                  <a:lnTo>
                    <a:pt x="1286" y="1057"/>
                  </a:lnTo>
                  <a:lnTo>
                    <a:pt x="1260" y="1069"/>
                  </a:lnTo>
                  <a:lnTo>
                    <a:pt x="1232" y="1067"/>
                  </a:lnTo>
                  <a:lnTo>
                    <a:pt x="1205" y="1062"/>
                  </a:lnTo>
                  <a:lnTo>
                    <a:pt x="1216" y="1033"/>
                  </a:lnTo>
                  <a:lnTo>
                    <a:pt x="1242" y="1013"/>
                  </a:lnTo>
                  <a:lnTo>
                    <a:pt x="1268" y="1018"/>
                  </a:lnTo>
                  <a:lnTo>
                    <a:pt x="1297" y="1025"/>
                  </a:lnTo>
                  <a:lnTo>
                    <a:pt x="1299" y="1029"/>
                  </a:lnTo>
                  <a:close/>
                  <a:moveTo>
                    <a:pt x="867" y="425"/>
                  </a:moveTo>
                  <a:lnTo>
                    <a:pt x="857" y="399"/>
                  </a:lnTo>
                  <a:lnTo>
                    <a:pt x="829" y="389"/>
                  </a:lnTo>
                  <a:lnTo>
                    <a:pt x="802" y="384"/>
                  </a:lnTo>
                  <a:lnTo>
                    <a:pt x="774" y="378"/>
                  </a:lnTo>
                  <a:lnTo>
                    <a:pt x="746" y="373"/>
                  </a:lnTo>
                  <a:lnTo>
                    <a:pt x="719" y="363"/>
                  </a:lnTo>
                  <a:lnTo>
                    <a:pt x="691" y="371"/>
                  </a:lnTo>
                  <a:lnTo>
                    <a:pt x="709" y="399"/>
                  </a:lnTo>
                  <a:lnTo>
                    <a:pt x="738" y="419"/>
                  </a:lnTo>
                  <a:lnTo>
                    <a:pt x="764" y="425"/>
                  </a:lnTo>
                  <a:lnTo>
                    <a:pt x="790" y="428"/>
                  </a:lnTo>
                  <a:lnTo>
                    <a:pt x="815" y="443"/>
                  </a:lnTo>
                  <a:lnTo>
                    <a:pt x="841" y="472"/>
                  </a:lnTo>
                  <a:lnTo>
                    <a:pt x="870" y="477"/>
                  </a:lnTo>
                  <a:lnTo>
                    <a:pt x="867" y="451"/>
                  </a:lnTo>
                  <a:lnTo>
                    <a:pt x="867" y="425"/>
                  </a:lnTo>
                  <a:close/>
                  <a:moveTo>
                    <a:pt x="859" y="506"/>
                  </a:moveTo>
                  <a:lnTo>
                    <a:pt x="852" y="534"/>
                  </a:lnTo>
                  <a:lnTo>
                    <a:pt x="850" y="559"/>
                  </a:lnTo>
                  <a:lnTo>
                    <a:pt x="857" y="585"/>
                  </a:lnTo>
                  <a:lnTo>
                    <a:pt x="829" y="606"/>
                  </a:lnTo>
                  <a:lnTo>
                    <a:pt x="802" y="585"/>
                  </a:lnTo>
                  <a:lnTo>
                    <a:pt x="779" y="557"/>
                  </a:lnTo>
                  <a:lnTo>
                    <a:pt x="774" y="531"/>
                  </a:lnTo>
                  <a:lnTo>
                    <a:pt x="777" y="506"/>
                  </a:lnTo>
                  <a:lnTo>
                    <a:pt x="764" y="479"/>
                  </a:lnTo>
                  <a:lnTo>
                    <a:pt x="767" y="451"/>
                  </a:lnTo>
                  <a:lnTo>
                    <a:pt x="792" y="435"/>
                  </a:lnTo>
                  <a:lnTo>
                    <a:pt x="818" y="461"/>
                  </a:lnTo>
                  <a:lnTo>
                    <a:pt x="846" y="485"/>
                  </a:lnTo>
                  <a:lnTo>
                    <a:pt x="859" y="506"/>
                  </a:lnTo>
                  <a:close/>
                  <a:moveTo>
                    <a:pt x="1198" y="570"/>
                  </a:moveTo>
                  <a:lnTo>
                    <a:pt x="1170" y="578"/>
                  </a:lnTo>
                  <a:lnTo>
                    <a:pt x="1157" y="552"/>
                  </a:lnTo>
                  <a:lnTo>
                    <a:pt x="1182" y="552"/>
                  </a:lnTo>
                  <a:lnTo>
                    <a:pt x="1198" y="570"/>
                  </a:lnTo>
                  <a:close/>
                  <a:moveTo>
                    <a:pt x="611" y="246"/>
                  </a:moveTo>
                  <a:lnTo>
                    <a:pt x="596" y="274"/>
                  </a:lnTo>
                  <a:lnTo>
                    <a:pt x="596" y="301"/>
                  </a:lnTo>
                  <a:lnTo>
                    <a:pt x="567" y="324"/>
                  </a:lnTo>
                  <a:lnTo>
                    <a:pt x="541" y="329"/>
                  </a:lnTo>
                  <a:lnTo>
                    <a:pt x="516" y="322"/>
                  </a:lnTo>
                  <a:lnTo>
                    <a:pt x="493" y="295"/>
                  </a:lnTo>
                  <a:lnTo>
                    <a:pt x="487" y="269"/>
                  </a:lnTo>
                  <a:lnTo>
                    <a:pt x="479" y="241"/>
                  </a:lnTo>
                  <a:lnTo>
                    <a:pt x="484" y="216"/>
                  </a:lnTo>
                  <a:lnTo>
                    <a:pt x="511" y="202"/>
                  </a:lnTo>
                  <a:lnTo>
                    <a:pt x="536" y="205"/>
                  </a:lnTo>
                  <a:lnTo>
                    <a:pt x="565" y="184"/>
                  </a:lnTo>
                  <a:lnTo>
                    <a:pt x="590" y="202"/>
                  </a:lnTo>
                  <a:lnTo>
                    <a:pt x="611" y="228"/>
                  </a:lnTo>
                  <a:lnTo>
                    <a:pt x="611" y="246"/>
                  </a:lnTo>
                  <a:close/>
                  <a:moveTo>
                    <a:pt x="1149" y="725"/>
                  </a:moveTo>
                  <a:lnTo>
                    <a:pt x="1124" y="746"/>
                  </a:lnTo>
                  <a:lnTo>
                    <a:pt x="1097" y="748"/>
                  </a:lnTo>
                  <a:lnTo>
                    <a:pt x="1092" y="723"/>
                  </a:lnTo>
                  <a:lnTo>
                    <a:pt x="1103" y="695"/>
                  </a:lnTo>
                  <a:lnTo>
                    <a:pt x="1129" y="689"/>
                  </a:lnTo>
                  <a:lnTo>
                    <a:pt x="1149" y="718"/>
                  </a:lnTo>
                  <a:lnTo>
                    <a:pt x="1149" y="725"/>
                  </a:lnTo>
                  <a:close/>
                  <a:moveTo>
                    <a:pt x="1069" y="730"/>
                  </a:moveTo>
                  <a:lnTo>
                    <a:pt x="1056" y="705"/>
                  </a:lnTo>
                  <a:lnTo>
                    <a:pt x="1069" y="730"/>
                  </a:lnTo>
                  <a:close/>
                  <a:moveTo>
                    <a:pt x="1224" y="670"/>
                  </a:moveTo>
                  <a:lnTo>
                    <a:pt x="1209" y="697"/>
                  </a:lnTo>
                  <a:lnTo>
                    <a:pt x="1182" y="689"/>
                  </a:lnTo>
                  <a:lnTo>
                    <a:pt x="1165" y="661"/>
                  </a:lnTo>
                  <a:lnTo>
                    <a:pt x="1168" y="635"/>
                  </a:lnTo>
                  <a:lnTo>
                    <a:pt x="1193" y="637"/>
                  </a:lnTo>
                  <a:lnTo>
                    <a:pt x="1219" y="663"/>
                  </a:lnTo>
                  <a:lnTo>
                    <a:pt x="1224" y="670"/>
                  </a:lnTo>
                  <a:close/>
                  <a:moveTo>
                    <a:pt x="1064" y="656"/>
                  </a:moveTo>
                  <a:lnTo>
                    <a:pt x="1058" y="681"/>
                  </a:lnTo>
                  <a:lnTo>
                    <a:pt x="1030" y="674"/>
                  </a:lnTo>
                  <a:lnTo>
                    <a:pt x="1004" y="653"/>
                  </a:lnTo>
                  <a:lnTo>
                    <a:pt x="976" y="656"/>
                  </a:lnTo>
                  <a:lnTo>
                    <a:pt x="950" y="653"/>
                  </a:lnTo>
                  <a:lnTo>
                    <a:pt x="921" y="650"/>
                  </a:lnTo>
                  <a:lnTo>
                    <a:pt x="896" y="658"/>
                  </a:lnTo>
                  <a:lnTo>
                    <a:pt x="870" y="653"/>
                  </a:lnTo>
                  <a:lnTo>
                    <a:pt x="844" y="632"/>
                  </a:lnTo>
                  <a:lnTo>
                    <a:pt x="850" y="603"/>
                  </a:lnTo>
                  <a:lnTo>
                    <a:pt x="864" y="578"/>
                  </a:lnTo>
                  <a:lnTo>
                    <a:pt x="857" y="552"/>
                  </a:lnTo>
                  <a:lnTo>
                    <a:pt x="883" y="534"/>
                  </a:lnTo>
                  <a:lnTo>
                    <a:pt x="908" y="559"/>
                  </a:lnTo>
                  <a:lnTo>
                    <a:pt x="919" y="567"/>
                  </a:lnTo>
                  <a:lnTo>
                    <a:pt x="950" y="523"/>
                  </a:lnTo>
                  <a:lnTo>
                    <a:pt x="976" y="523"/>
                  </a:lnTo>
                  <a:lnTo>
                    <a:pt x="1002" y="534"/>
                  </a:lnTo>
                  <a:lnTo>
                    <a:pt x="1030" y="546"/>
                  </a:lnTo>
                  <a:lnTo>
                    <a:pt x="1056" y="564"/>
                  </a:lnTo>
                  <a:lnTo>
                    <a:pt x="1079" y="591"/>
                  </a:lnTo>
                  <a:lnTo>
                    <a:pt x="1103" y="617"/>
                  </a:lnTo>
                  <a:lnTo>
                    <a:pt x="1103" y="629"/>
                  </a:lnTo>
                  <a:lnTo>
                    <a:pt x="1076" y="637"/>
                  </a:lnTo>
                  <a:lnTo>
                    <a:pt x="1048" y="622"/>
                  </a:lnTo>
                  <a:lnTo>
                    <a:pt x="1023" y="598"/>
                  </a:lnTo>
                  <a:lnTo>
                    <a:pt x="993" y="585"/>
                  </a:lnTo>
                  <a:lnTo>
                    <a:pt x="968" y="567"/>
                  </a:lnTo>
                  <a:lnTo>
                    <a:pt x="942" y="567"/>
                  </a:lnTo>
                  <a:lnTo>
                    <a:pt x="926" y="572"/>
                  </a:lnTo>
                  <a:lnTo>
                    <a:pt x="935" y="578"/>
                  </a:lnTo>
                  <a:lnTo>
                    <a:pt x="960" y="575"/>
                  </a:lnTo>
                  <a:lnTo>
                    <a:pt x="989" y="594"/>
                  </a:lnTo>
                  <a:lnTo>
                    <a:pt x="1014" y="606"/>
                  </a:lnTo>
                  <a:lnTo>
                    <a:pt x="1041" y="629"/>
                  </a:lnTo>
                  <a:lnTo>
                    <a:pt x="1064" y="656"/>
                  </a:lnTo>
                  <a:close/>
                  <a:moveTo>
                    <a:pt x="1230" y="650"/>
                  </a:moveTo>
                  <a:lnTo>
                    <a:pt x="1203" y="637"/>
                  </a:lnTo>
                  <a:lnTo>
                    <a:pt x="1230" y="647"/>
                  </a:lnTo>
                  <a:lnTo>
                    <a:pt x="1230" y="65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70" name="Freeform 38"/>
            <p:cNvSpPr>
              <a:spLocks noEditPoints="1"/>
            </p:cNvSpPr>
            <p:nvPr/>
          </p:nvSpPr>
          <p:spPr bwMode="auto">
            <a:xfrm>
              <a:off x="1734438" y="2784734"/>
              <a:ext cx="1114782" cy="913696"/>
            </a:xfrm>
            <a:custGeom>
              <a:avLst/>
              <a:gdLst>
                <a:gd name="T0" fmla="*/ 2147483647 w 1897"/>
                <a:gd name="T1" fmla="*/ 2147483647 h 1553"/>
                <a:gd name="T2" fmla="*/ 2147483647 w 1897"/>
                <a:gd name="T3" fmla="*/ 2147483647 h 1553"/>
                <a:gd name="T4" fmla="*/ 2147483647 w 1897"/>
                <a:gd name="T5" fmla="*/ 2147483647 h 1553"/>
                <a:gd name="T6" fmla="*/ 2147483647 w 1897"/>
                <a:gd name="T7" fmla="*/ 2147483647 h 1553"/>
                <a:gd name="T8" fmla="*/ 2147483647 w 1897"/>
                <a:gd name="T9" fmla="*/ 2147483647 h 1553"/>
                <a:gd name="T10" fmla="*/ 2147483647 w 1897"/>
                <a:gd name="T11" fmla="*/ 2147483647 h 1553"/>
                <a:gd name="T12" fmla="*/ 2147483647 w 1897"/>
                <a:gd name="T13" fmla="*/ 2147483647 h 1553"/>
                <a:gd name="T14" fmla="*/ 2147483647 w 1897"/>
                <a:gd name="T15" fmla="*/ 2147483647 h 1553"/>
                <a:gd name="T16" fmla="*/ 2147483647 w 1897"/>
                <a:gd name="T17" fmla="*/ 2147483647 h 1553"/>
                <a:gd name="T18" fmla="*/ 2147483647 w 1897"/>
                <a:gd name="T19" fmla="*/ 2147483647 h 1553"/>
                <a:gd name="T20" fmla="*/ 2147483647 w 1897"/>
                <a:gd name="T21" fmla="*/ 2147483647 h 1553"/>
                <a:gd name="T22" fmla="*/ 2147483647 w 1897"/>
                <a:gd name="T23" fmla="*/ 2147483647 h 1553"/>
                <a:gd name="T24" fmla="*/ 2147483647 w 1897"/>
                <a:gd name="T25" fmla="*/ 2147483647 h 1553"/>
                <a:gd name="T26" fmla="*/ 2147483647 w 1897"/>
                <a:gd name="T27" fmla="*/ 2147483647 h 1553"/>
                <a:gd name="T28" fmla="*/ 2147483647 w 1897"/>
                <a:gd name="T29" fmla="*/ 2147483647 h 1553"/>
                <a:gd name="T30" fmla="*/ 2147483647 w 1897"/>
                <a:gd name="T31" fmla="*/ 2147483647 h 1553"/>
                <a:gd name="T32" fmla="*/ 2147483647 w 1897"/>
                <a:gd name="T33" fmla="*/ 2147483647 h 1553"/>
                <a:gd name="T34" fmla="*/ 2147483647 w 1897"/>
                <a:gd name="T35" fmla="*/ 2147483647 h 1553"/>
                <a:gd name="T36" fmla="*/ 2147483647 w 1897"/>
                <a:gd name="T37" fmla="*/ 2147483647 h 1553"/>
                <a:gd name="T38" fmla="*/ 2147483647 w 1897"/>
                <a:gd name="T39" fmla="*/ 2147483647 h 1553"/>
                <a:gd name="T40" fmla="*/ 2147483647 w 1897"/>
                <a:gd name="T41" fmla="*/ 2147483647 h 1553"/>
                <a:gd name="T42" fmla="*/ 2147483647 w 1897"/>
                <a:gd name="T43" fmla="*/ 2147483647 h 1553"/>
                <a:gd name="T44" fmla="*/ 2147483647 w 1897"/>
                <a:gd name="T45" fmla="*/ 2147483647 h 1553"/>
                <a:gd name="T46" fmla="*/ 2147483647 w 1897"/>
                <a:gd name="T47" fmla="*/ 2147483647 h 1553"/>
                <a:gd name="T48" fmla="*/ 2147483647 w 1897"/>
                <a:gd name="T49" fmla="*/ 2147483647 h 1553"/>
                <a:gd name="T50" fmla="*/ 2147483647 w 1897"/>
                <a:gd name="T51" fmla="*/ 2147483647 h 1553"/>
                <a:gd name="T52" fmla="*/ 2147483647 w 1897"/>
                <a:gd name="T53" fmla="*/ 2147483647 h 1553"/>
                <a:gd name="T54" fmla="*/ 2147483647 w 1897"/>
                <a:gd name="T55" fmla="*/ 2147483647 h 1553"/>
                <a:gd name="T56" fmla="*/ 2147483647 w 1897"/>
                <a:gd name="T57" fmla="*/ 2147483647 h 1553"/>
                <a:gd name="T58" fmla="*/ 2147483647 w 1897"/>
                <a:gd name="T59" fmla="*/ 2147483647 h 1553"/>
                <a:gd name="T60" fmla="*/ 2147483647 w 1897"/>
                <a:gd name="T61" fmla="*/ 2147483647 h 1553"/>
                <a:gd name="T62" fmla="*/ 2147483647 w 1897"/>
                <a:gd name="T63" fmla="*/ 2147483647 h 1553"/>
                <a:gd name="T64" fmla="*/ 2147483647 w 1897"/>
                <a:gd name="T65" fmla="*/ 2147483647 h 1553"/>
                <a:gd name="T66" fmla="*/ 2147483647 w 1897"/>
                <a:gd name="T67" fmla="*/ 2147483647 h 1553"/>
                <a:gd name="T68" fmla="*/ 2147483647 w 1897"/>
                <a:gd name="T69" fmla="*/ 2147483647 h 1553"/>
                <a:gd name="T70" fmla="*/ 2147483647 w 1897"/>
                <a:gd name="T71" fmla="*/ 2147483647 h 1553"/>
                <a:gd name="T72" fmla="*/ 2147483647 w 1897"/>
                <a:gd name="T73" fmla="*/ 2147483647 h 1553"/>
                <a:gd name="T74" fmla="*/ 2147483647 w 1897"/>
                <a:gd name="T75" fmla="*/ 2147483647 h 1553"/>
                <a:gd name="T76" fmla="*/ 2147483647 w 1897"/>
                <a:gd name="T77" fmla="*/ 2147483647 h 1553"/>
                <a:gd name="T78" fmla="*/ 2147483647 w 1897"/>
                <a:gd name="T79" fmla="*/ 2147483647 h 1553"/>
                <a:gd name="T80" fmla="*/ 2147483647 w 1897"/>
                <a:gd name="T81" fmla="*/ 2147483647 h 1553"/>
                <a:gd name="T82" fmla="*/ 2147483647 w 1897"/>
                <a:gd name="T83" fmla="*/ 2147483647 h 1553"/>
                <a:gd name="T84" fmla="*/ 2147483647 w 1897"/>
                <a:gd name="T85" fmla="*/ 2147483647 h 1553"/>
                <a:gd name="T86" fmla="*/ 2147483647 w 1897"/>
                <a:gd name="T87" fmla="*/ 2147483647 h 1553"/>
                <a:gd name="T88" fmla="*/ 2147483647 w 1897"/>
                <a:gd name="T89" fmla="*/ 2147483647 h 1553"/>
                <a:gd name="T90" fmla="*/ 2147483647 w 1897"/>
                <a:gd name="T91" fmla="*/ 2147483647 h 1553"/>
                <a:gd name="T92" fmla="*/ 2147483647 w 1897"/>
                <a:gd name="T93" fmla="*/ 2147483647 h 1553"/>
                <a:gd name="T94" fmla="*/ 2147483647 w 1897"/>
                <a:gd name="T95" fmla="*/ 2147483647 h 1553"/>
                <a:gd name="T96" fmla="*/ 2147483647 w 1897"/>
                <a:gd name="T97" fmla="*/ 2147483647 h 1553"/>
                <a:gd name="T98" fmla="*/ 2147483647 w 1897"/>
                <a:gd name="T99" fmla="*/ 2147483647 h 1553"/>
                <a:gd name="T100" fmla="*/ 2147483647 w 1897"/>
                <a:gd name="T101" fmla="*/ 2147483647 h 1553"/>
                <a:gd name="T102" fmla="*/ 2147483647 w 1897"/>
                <a:gd name="T103" fmla="*/ 2147483647 h 1553"/>
                <a:gd name="T104" fmla="*/ 2147483647 w 1897"/>
                <a:gd name="T105" fmla="*/ 2147483647 h 1553"/>
                <a:gd name="T106" fmla="*/ 2147483647 w 1897"/>
                <a:gd name="T107" fmla="*/ 2147483647 h 1553"/>
                <a:gd name="T108" fmla="*/ 2147483647 w 1897"/>
                <a:gd name="T109" fmla="*/ 2147483647 h 1553"/>
                <a:gd name="T110" fmla="*/ 2147483647 w 1897"/>
                <a:gd name="T111" fmla="*/ 2147483647 h 1553"/>
                <a:gd name="T112" fmla="*/ 2147483647 w 1897"/>
                <a:gd name="T113" fmla="*/ 2147483647 h 155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897" h="1553">
                  <a:moveTo>
                    <a:pt x="794" y="931"/>
                  </a:moveTo>
                  <a:lnTo>
                    <a:pt x="790" y="945"/>
                  </a:lnTo>
                  <a:lnTo>
                    <a:pt x="790" y="973"/>
                  </a:lnTo>
                  <a:lnTo>
                    <a:pt x="803" y="1000"/>
                  </a:lnTo>
                  <a:lnTo>
                    <a:pt x="816" y="1028"/>
                  </a:lnTo>
                  <a:lnTo>
                    <a:pt x="821" y="1053"/>
                  </a:lnTo>
                  <a:lnTo>
                    <a:pt x="816" y="1079"/>
                  </a:lnTo>
                  <a:lnTo>
                    <a:pt x="821" y="1108"/>
                  </a:lnTo>
                  <a:lnTo>
                    <a:pt x="811" y="1134"/>
                  </a:lnTo>
                  <a:lnTo>
                    <a:pt x="808" y="1160"/>
                  </a:lnTo>
                  <a:lnTo>
                    <a:pt x="821" y="1189"/>
                  </a:lnTo>
                  <a:lnTo>
                    <a:pt x="816" y="1214"/>
                  </a:lnTo>
                  <a:lnTo>
                    <a:pt x="808" y="1242"/>
                  </a:lnTo>
                  <a:lnTo>
                    <a:pt x="805" y="1268"/>
                  </a:lnTo>
                  <a:lnTo>
                    <a:pt x="808" y="1297"/>
                  </a:lnTo>
                  <a:lnTo>
                    <a:pt x="803" y="1323"/>
                  </a:lnTo>
                  <a:lnTo>
                    <a:pt x="795" y="1349"/>
                  </a:lnTo>
                  <a:lnTo>
                    <a:pt x="798" y="1378"/>
                  </a:lnTo>
                  <a:lnTo>
                    <a:pt x="793" y="1406"/>
                  </a:lnTo>
                  <a:lnTo>
                    <a:pt x="798" y="1431"/>
                  </a:lnTo>
                  <a:lnTo>
                    <a:pt x="793" y="1457"/>
                  </a:lnTo>
                  <a:lnTo>
                    <a:pt x="784" y="1486"/>
                  </a:lnTo>
                  <a:lnTo>
                    <a:pt x="779" y="1512"/>
                  </a:lnTo>
                  <a:lnTo>
                    <a:pt x="756" y="1538"/>
                  </a:lnTo>
                  <a:lnTo>
                    <a:pt x="733" y="1512"/>
                  </a:lnTo>
                  <a:lnTo>
                    <a:pt x="707" y="1491"/>
                  </a:lnTo>
                  <a:lnTo>
                    <a:pt x="689" y="1465"/>
                  </a:lnTo>
                  <a:lnTo>
                    <a:pt x="661" y="1447"/>
                  </a:lnTo>
                  <a:lnTo>
                    <a:pt x="634" y="1422"/>
                  </a:lnTo>
                  <a:lnTo>
                    <a:pt x="617" y="1396"/>
                  </a:lnTo>
                  <a:lnTo>
                    <a:pt x="588" y="1390"/>
                  </a:lnTo>
                  <a:lnTo>
                    <a:pt x="591" y="1417"/>
                  </a:lnTo>
                  <a:lnTo>
                    <a:pt x="570" y="1445"/>
                  </a:lnTo>
                  <a:lnTo>
                    <a:pt x="578" y="1470"/>
                  </a:lnTo>
                  <a:lnTo>
                    <a:pt x="576" y="1496"/>
                  </a:lnTo>
                  <a:lnTo>
                    <a:pt x="549" y="1502"/>
                  </a:lnTo>
                  <a:lnTo>
                    <a:pt x="521" y="1489"/>
                  </a:lnTo>
                  <a:lnTo>
                    <a:pt x="495" y="1473"/>
                  </a:lnTo>
                  <a:lnTo>
                    <a:pt x="470" y="1463"/>
                  </a:lnTo>
                  <a:lnTo>
                    <a:pt x="443" y="1445"/>
                  </a:lnTo>
                  <a:lnTo>
                    <a:pt x="417" y="1429"/>
                  </a:lnTo>
                  <a:lnTo>
                    <a:pt x="392" y="1403"/>
                  </a:lnTo>
                  <a:lnTo>
                    <a:pt x="364" y="1401"/>
                  </a:lnTo>
                  <a:lnTo>
                    <a:pt x="337" y="1419"/>
                  </a:lnTo>
                  <a:lnTo>
                    <a:pt x="353" y="1447"/>
                  </a:lnTo>
                  <a:lnTo>
                    <a:pt x="371" y="1473"/>
                  </a:lnTo>
                  <a:lnTo>
                    <a:pt x="387" y="1499"/>
                  </a:lnTo>
                  <a:lnTo>
                    <a:pt x="394" y="1525"/>
                  </a:lnTo>
                  <a:lnTo>
                    <a:pt x="381" y="1553"/>
                  </a:lnTo>
                  <a:lnTo>
                    <a:pt x="353" y="1553"/>
                  </a:lnTo>
                  <a:lnTo>
                    <a:pt x="346" y="1543"/>
                  </a:lnTo>
                  <a:lnTo>
                    <a:pt x="346" y="1540"/>
                  </a:lnTo>
                  <a:lnTo>
                    <a:pt x="335" y="1514"/>
                  </a:lnTo>
                  <a:lnTo>
                    <a:pt x="307" y="1491"/>
                  </a:lnTo>
                  <a:lnTo>
                    <a:pt x="281" y="1466"/>
                  </a:lnTo>
                  <a:lnTo>
                    <a:pt x="254" y="1452"/>
                  </a:lnTo>
                  <a:lnTo>
                    <a:pt x="249" y="1447"/>
                  </a:lnTo>
                  <a:lnTo>
                    <a:pt x="254" y="1429"/>
                  </a:lnTo>
                  <a:lnTo>
                    <a:pt x="229" y="1408"/>
                  </a:lnTo>
                  <a:lnTo>
                    <a:pt x="201" y="1388"/>
                  </a:lnTo>
                  <a:lnTo>
                    <a:pt x="175" y="1362"/>
                  </a:lnTo>
                  <a:lnTo>
                    <a:pt x="148" y="1336"/>
                  </a:lnTo>
                  <a:lnTo>
                    <a:pt x="143" y="1307"/>
                  </a:lnTo>
                  <a:lnTo>
                    <a:pt x="118" y="1289"/>
                  </a:lnTo>
                  <a:lnTo>
                    <a:pt x="113" y="1263"/>
                  </a:lnTo>
                  <a:lnTo>
                    <a:pt x="86" y="1243"/>
                  </a:lnTo>
                  <a:lnTo>
                    <a:pt x="58" y="1233"/>
                  </a:lnTo>
                  <a:lnTo>
                    <a:pt x="37" y="1206"/>
                  </a:lnTo>
                  <a:lnTo>
                    <a:pt x="12" y="1194"/>
                  </a:lnTo>
                  <a:lnTo>
                    <a:pt x="0" y="1191"/>
                  </a:lnTo>
                  <a:lnTo>
                    <a:pt x="13" y="1185"/>
                  </a:lnTo>
                  <a:lnTo>
                    <a:pt x="30" y="1176"/>
                  </a:lnTo>
                  <a:lnTo>
                    <a:pt x="38" y="1172"/>
                  </a:lnTo>
                  <a:lnTo>
                    <a:pt x="46" y="1166"/>
                  </a:lnTo>
                  <a:lnTo>
                    <a:pt x="49" y="1163"/>
                  </a:lnTo>
                  <a:lnTo>
                    <a:pt x="51" y="1160"/>
                  </a:lnTo>
                  <a:lnTo>
                    <a:pt x="52" y="1158"/>
                  </a:lnTo>
                  <a:lnTo>
                    <a:pt x="52" y="1155"/>
                  </a:lnTo>
                  <a:lnTo>
                    <a:pt x="55" y="1160"/>
                  </a:lnTo>
                  <a:lnTo>
                    <a:pt x="57" y="1168"/>
                  </a:lnTo>
                  <a:lnTo>
                    <a:pt x="59" y="1177"/>
                  </a:lnTo>
                  <a:lnTo>
                    <a:pt x="60" y="1187"/>
                  </a:lnTo>
                  <a:lnTo>
                    <a:pt x="62" y="1191"/>
                  </a:lnTo>
                  <a:lnTo>
                    <a:pt x="63" y="1195"/>
                  </a:lnTo>
                  <a:lnTo>
                    <a:pt x="67" y="1200"/>
                  </a:lnTo>
                  <a:lnTo>
                    <a:pt x="69" y="1203"/>
                  </a:lnTo>
                  <a:lnTo>
                    <a:pt x="73" y="1208"/>
                  </a:lnTo>
                  <a:lnTo>
                    <a:pt x="77" y="1211"/>
                  </a:lnTo>
                  <a:lnTo>
                    <a:pt x="82" y="1213"/>
                  </a:lnTo>
                  <a:lnTo>
                    <a:pt x="89" y="1215"/>
                  </a:lnTo>
                  <a:lnTo>
                    <a:pt x="103" y="1217"/>
                  </a:lnTo>
                  <a:lnTo>
                    <a:pt x="119" y="1217"/>
                  </a:lnTo>
                  <a:lnTo>
                    <a:pt x="136" y="1217"/>
                  </a:lnTo>
                  <a:lnTo>
                    <a:pt x="152" y="1215"/>
                  </a:lnTo>
                  <a:lnTo>
                    <a:pt x="177" y="1212"/>
                  </a:lnTo>
                  <a:lnTo>
                    <a:pt x="187" y="1210"/>
                  </a:lnTo>
                  <a:lnTo>
                    <a:pt x="188" y="1210"/>
                  </a:lnTo>
                  <a:lnTo>
                    <a:pt x="191" y="1205"/>
                  </a:lnTo>
                  <a:lnTo>
                    <a:pt x="198" y="1197"/>
                  </a:lnTo>
                  <a:lnTo>
                    <a:pt x="208" y="1178"/>
                  </a:lnTo>
                  <a:lnTo>
                    <a:pt x="213" y="1162"/>
                  </a:lnTo>
                  <a:lnTo>
                    <a:pt x="220" y="1140"/>
                  </a:lnTo>
                  <a:lnTo>
                    <a:pt x="223" y="1127"/>
                  </a:lnTo>
                  <a:lnTo>
                    <a:pt x="227" y="1113"/>
                  </a:lnTo>
                  <a:lnTo>
                    <a:pt x="232" y="1098"/>
                  </a:lnTo>
                  <a:lnTo>
                    <a:pt x="238" y="1084"/>
                  </a:lnTo>
                  <a:lnTo>
                    <a:pt x="245" y="1068"/>
                  </a:lnTo>
                  <a:lnTo>
                    <a:pt x="253" y="1053"/>
                  </a:lnTo>
                  <a:lnTo>
                    <a:pt x="263" y="1040"/>
                  </a:lnTo>
                  <a:lnTo>
                    <a:pt x="274" y="1026"/>
                  </a:lnTo>
                  <a:lnTo>
                    <a:pt x="281" y="1020"/>
                  </a:lnTo>
                  <a:lnTo>
                    <a:pt x="288" y="1013"/>
                  </a:lnTo>
                  <a:lnTo>
                    <a:pt x="295" y="1007"/>
                  </a:lnTo>
                  <a:lnTo>
                    <a:pt x="303" y="1002"/>
                  </a:lnTo>
                  <a:lnTo>
                    <a:pt x="311" y="996"/>
                  </a:lnTo>
                  <a:lnTo>
                    <a:pt x="321" y="992"/>
                  </a:lnTo>
                  <a:lnTo>
                    <a:pt x="330" y="988"/>
                  </a:lnTo>
                  <a:lnTo>
                    <a:pt x="339" y="984"/>
                  </a:lnTo>
                  <a:lnTo>
                    <a:pt x="379" y="971"/>
                  </a:lnTo>
                  <a:lnTo>
                    <a:pt x="414" y="961"/>
                  </a:lnTo>
                  <a:lnTo>
                    <a:pt x="444" y="950"/>
                  </a:lnTo>
                  <a:lnTo>
                    <a:pt x="470" y="942"/>
                  </a:lnTo>
                  <a:lnTo>
                    <a:pt x="491" y="932"/>
                  </a:lnTo>
                  <a:lnTo>
                    <a:pt x="507" y="924"/>
                  </a:lnTo>
                  <a:lnTo>
                    <a:pt x="514" y="920"/>
                  </a:lnTo>
                  <a:lnTo>
                    <a:pt x="519" y="916"/>
                  </a:lnTo>
                  <a:lnTo>
                    <a:pt x="523" y="911"/>
                  </a:lnTo>
                  <a:lnTo>
                    <a:pt x="526" y="906"/>
                  </a:lnTo>
                  <a:lnTo>
                    <a:pt x="528" y="902"/>
                  </a:lnTo>
                  <a:lnTo>
                    <a:pt x="529" y="897"/>
                  </a:lnTo>
                  <a:lnTo>
                    <a:pt x="530" y="891"/>
                  </a:lnTo>
                  <a:lnTo>
                    <a:pt x="530" y="886"/>
                  </a:lnTo>
                  <a:lnTo>
                    <a:pt x="529" y="877"/>
                  </a:lnTo>
                  <a:lnTo>
                    <a:pt x="529" y="868"/>
                  </a:lnTo>
                  <a:lnTo>
                    <a:pt x="528" y="864"/>
                  </a:lnTo>
                  <a:lnTo>
                    <a:pt x="529" y="860"/>
                  </a:lnTo>
                  <a:lnTo>
                    <a:pt x="530" y="857"/>
                  </a:lnTo>
                  <a:lnTo>
                    <a:pt x="531" y="854"/>
                  </a:lnTo>
                  <a:lnTo>
                    <a:pt x="534" y="852"/>
                  </a:lnTo>
                  <a:lnTo>
                    <a:pt x="537" y="849"/>
                  </a:lnTo>
                  <a:lnTo>
                    <a:pt x="541" y="847"/>
                  </a:lnTo>
                  <a:lnTo>
                    <a:pt x="547" y="847"/>
                  </a:lnTo>
                  <a:lnTo>
                    <a:pt x="567" y="846"/>
                  </a:lnTo>
                  <a:lnTo>
                    <a:pt x="581" y="845"/>
                  </a:lnTo>
                  <a:lnTo>
                    <a:pt x="585" y="844"/>
                  </a:lnTo>
                  <a:lnTo>
                    <a:pt x="589" y="841"/>
                  </a:lnTo>
                  <a:lnTo>
                    <a:pt x="592" y="836"/>
                  </a:lnTo>
                  <a:lnTo>
                    <a:pt x="597" y="828"/>
                  </a:lnTo>
                  <a:lnTo>
                    <a:pt x="601" y="821"/>
                  </a:lnTo>
                  <a:lnTo>
                    <a:pt x="607" y="814"/>
                  </a:lnTo>
                  <a:lnTo>
                    <a:pt x="613" y="808"/>
                  </a:lnTo>
                  <a:lnTo>
                    <a:pt x="621" y="805"/>
                  </a:lnTo>
                  <a:lnTo>
                    <a:pt x="625" y="804"/>
                  </a:lnTo>
                  <a:lnTo>
                    <a:pt x="629" y="804"/>
                  </a:lnTo>
                  <a:lnTo>
                    <a:pt x="633" y="804"/>
                  </a:lnTo>
                  <a:lnTo>
                    <a:pt x="637" y="804"/>
                  </a:lnTo>
                  <a:lnTo>
                    <a:pt x="642" y="805"/>
                  </a:lnTo>
                  <a:lnTo>
                    <a:pt x="645" y="807"/>
                  </a:lnTo>
                  <a:lnTo>
                    <a:pt x="649" y="811"/>
                  </a:lnTo>
                  <a:lnTo>
                    <a:pt x="653" y="813"/>
                  </a:lnTo>
                  <a:lnTo>
                    <a:pt x="661" y="821"/>
                  </a:lnTo>
                  <a:lnTo>
                    <a:pt x="668" y="832"/>
                  </a:lnTo>
                  <a:lnTo>
                    <a:pt x="675" y="844"/>
                  </a:lnTo>
                  <a:lnTo>
                    <a:pt x="683" y="858"/>
                  </a:lnTo>
                  <a:lnTo>
                    <a:pt x="690" y="870"/>
                  </a:lnTo>
                  <a:lnTo>
                    <a:pt x="697" y="883"/>
                  </a:lnTo>
                  <a:lnTo>
                    <a:pt x="706" y="895"/>
                  </a:lnTo>
                  <a:lnTo>
                    <a:pt x="715" y="904"/>
                  </a:lnTo>
                  <a:lnTo>
                    <a:pt x="726" y="910"/>
                  </a:lnTo>
                  <a:lnTo>
                    <a:pt x="737" y="917"/>
                  </a:lnTo>
                  <a:lnTo>
                    <a:pt x="748" y="921"/>
                  </a:lnTo>
                  <a:lnTo>
                    <a:pt x="759" y="923"/>
                  </a:lnTo>
                  <a:lnTo>
                    <a:pt x="776" y="926"/>
                  </a:lnTo>
                  <a:lnTo>
                    <a:pt x="782" y="927"/>
                  </a:lnTo>
                  <a:lnTo>
                    <a:pt x="788" y="929"/>
                  </a:lnTo>
                  <a:lnTo>
                    <a:pt x="794" y="931"/>
                  </a:lnTo>
                  <a:close/>
                  <a:moveTo>
                    <a:pt x="1834" y="60"/>
                  </a:moveTo>
                  <a:lnTo>
                    <a:pt x="1827" y="57"/>
                  </a:lnTo>
                  <a:lnTo>
                    <a:pt x="1800" y="54"/>
                  </a:lnTo>
                  <a:lnTo>
                    <a:pt x="1798" y="62"/>
                  </a:lnTo>
                  <a:lnTo>
                    <a:pt x="1809" y="62"/>
                  </a:lnTo>
                  <a:lnTo>
                    <a:pt x="1834" y="60"/>
                  </a:lnTo>
                  <a:close/>
                  <a:moveTo>
                    <a:pt x="1457" y="360"/>
                  </a:moveTo>
                  <a:lnTo>
                    <a:pt x="1475" y="360"/>
                  </a:lnTo>
                  <a:lnTo>
                    <a:pt x="1503" y="357"/>
                  </a:lnTo>
                  <a:lnTo>
                    <a:pt x="1532" y="365"/>
                  </a:lnTo>
                  <a:lnTo>
                    <a:pt x="1558" y="365"/>
                  </a:lnTo>
                  <a:lnTo>
                    <a:pt x="1560" y="367"/>
                  </a:lnTo>
                  <a:lnTo>
                    <a:pt x="1584" y="373"/>
                  </a:lnTo>
                  <a:lnTo>
                    <a:pt x="1586" y="375"/>
                  </a:lnTo>
                  <a:lnTo>
                    <a:pt x="1594" y="378"/>
                  </a:lnTo>
                  <a:lnTo>
                    <a:pt x="1604" y="388"/>
                  </a:lnTo>
                  <a:lnTo>
                    <a:pt x="1633" y="404"/>
                  </a:lnTo>
                  <a:lnTo>
                    <a:pt x="1654" y="429"/>
                  </a:lnTo>
                  <a:lnTo>
                    <a:pt x="1664" y="458"/>
                  </a:lnTo>
                  <a:lnTo>
                    <a:pt x="1651" y="484"/>
                  </a:lnTo>
                  <a:lnTo>
                    <a:pt x="1636" y="510"/>
                  </a:lnTo>
                  <a:lnTo>
                    <a:pt x="1633" y="539"/>
                  </a:lnTo>
                  <a:lnTo>
                    <a:pt x="1633" y="564"/>
                  </a:lnTo>
                  <a:lnTo>
                    <a:pt x="1607" y="572"/>
                  </a:lnTo>
                  <a:lnTo>
                    <a:pt x="1579" y="598"/>
                  </a:lnTo>
                  <a:lnTo>
                    <a:pt x="1550" y="580"/>
                  </a:lnTo>
                  <a:lnTo>
                    <a:pt x="1532" y="554"/>
                  </a:lnTo>
                  <a:lnTo>
                    <a:pt x="1503" y="554"/>
                  </a:lnTo>
                  <a:lnTo>
                    <a:pt x="1480" y="580"/>
                  </a:lnTo>
                  <a:lnTo>
                    <a:pt x="1452" y="588"/>
                  </a:lnTo>
                  <a:lnTo>
                    <a:pt x="1426" y="572"/>
                  </a:lnTo>
                  <a:lnTo>
                    <a:pt x="1418" y="546"/>
                  </a:lnTo>
                  <a:lnTo>
                    <a:pt x="1413" y="518"/>
                  </a:lnTo>
                  <a:lnTo>
                    <a:pt x="1421" y="491"/>
                  </a:lnTo>
                  <a:lnTo>
                    <a:pt x="1421" y="466"/>
                  </a:lnTo>
                  <a:lnTo>
                    <a:pt x="1424" y="438"/>
                  </a:lnTo>
                  <a:lnTo>
                    <a:pt x="1431" y="412"/>
                  </a:lnTo>
                  <a:lnTo>
                    <a:pt x="1436" y="385"/>
                  </a:lnTo>
                  <a:lnTo>
                    <a:pt x="1457" y="360"/>
                  </a:lnTo>
                  <a:close/>
                  <a:moveTo>
                    <a:pt x="1897" y="10"/>
                  </a:moveTo>
                  <a:lnTo>
                    <a:pt x="1887" y="37"/>
                  </a:lnTo>
                  <a:lnTo>
                    <a:pt x="1860" y="46"/>
                  </a:lnTo>
                  <a:lnTo>
                    <a:pt x="1853" y="18"/>
                  </a:lnTo>
                  <a:lnTo>
                    <a:pt x="1881" y="0"/>
                  </a:lnTo>
                  <a:lnTo>
                    <a:pt x="1897" y="10"/>
                  </a:lnTo>
                  <a:close/>
                  <a:moveTo>
                    <a:pt x="1376" y="452"/>
                  </a:moveTo>
                  <a:lnTo>
                    <a:pt x="1376" y="479"/>
                  </a:lnTo>
                  <a:lnTo>
                    <a:pt x="1351" y="489"/>
                  </a:lnTo>
                  <a:lnTo>
                    <a:pt x="1346" y="463"/>
                  </a:lnTo>
                  <a:lnTo>
                    <a:pt x="1372" y="452"/>
                  </a:lnTo>
                  <a:lnTo>
                    <a:pt x="1376" y="452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412271" y="2774165"/>
              <a:ext cx="1011710" cy="727204"/>
            </a:xfrm>
            <a:custGeom>
              <a:avLst/>
              <a:gdLst>
                <a:gd name="T0" fmla="*/ 924 w 1721"/>
                <a:gd name="T1" fmla="*/ 176 h 1235"/>
                <a:gd name="T2" fmla="*/ 927 w 1721"/>
                <a:gd name="T3" fmla="*/ 311 h 1235"/>
                <a:gd name="T4" fmla="*/ 906 w 1721"/>
                <a:gd name="T5" fmla="*/ 419 h 1235"/>
                <a:gd name="T6" fmla="*/ 1025 w 1721"/>
                <a:gd name="T7" fmla="*/ 313 h 1235"/>
                <a:gd name="T8" fmla="*/ 1219 w 1721"/>
                <a:gd name="T9" fmla="*/ 318 h 1235"/>
                <a:gd name="T10" fmla="*/ 1327 w 1721"/>
                <a:gd name="T11" fmla="*/ 463 h 1235"/>
                <a:gd name="T12" fmla="*/ 1408 w 1721"/>
                <a:gd name="T13" fmla="*/ 636 h 1235"/>
                <a:gd name="T14" fmla="*/ 1374 w 1721"/>
                <a:gd name="T15" fmla="*/ 862 h 1235"/>
                <a:gd name="T16" fmla="*/ 1307 w 1721"/>
                <a:gd name="T17" fmla="*/ 941 h 1235"/>
                <a:gd name="T18" fmla="*/ 1231 w 1721"/>
                <a:gd name="T19" fmla="*/ 876 h 1235"/>
                <a:gd name="T20" fmla="*/ 1185 w 1721"/>
                <a:gd name="T21" fmla="*/ 822 h 1235"/>
                <a:gd name="T22" fmla="*/ 1145 w 1721"/>
                <a:gd name="T23" fmla="*/ 846 h 1235"/>
                <a:gd name="T24" fmla="*/ 1085 w 1721"/>
                <a:gd name="T25" fmla="*/ 867 h 1235"/>
                <a:gd name="T26" fmla="*/ 1078 w 1721"/>
                <a:gd name="T27" fmla="*/ 904 h 1235"/>
                <a:gd name="T28" fmla="*/ 1055 w 1721"/>
                <a:gd name="T29" fmla="*/ 942 h 1235"/>
                <a:gd name="T30" fmla="*/ 869 w 1721"/>
                <a:gd name="T31" fmla="*/ 1010 h 1235"/>
                <a:gd name="T32" fmla="*/ 801 w 1721"/>
                <a:gd name="T33" fmla="*/ 1071 h 1235"/>
                <a:gd name="T34" fmla="*/ 756 w 1721"/>
                <a:gd name="T35" fmla="*/ 1196 h 1235"/>
                <a:gd name="T36" fmla="*/ 667 w 1721"/>
                <a:gd name="T37" fmla="*/ 1235 h 1235"/>
                <a:gd name="T38" fmla="*/ 611 w 1721"/>
                <a:gd name="T39" fmla="*/ 1213 h 1235"/>
                <a:gd name="T40" fmla="*/ 595 w 1721"/>
                <a:gd name="T41" fmla="*/ 1157 h 1235"/>
                <a:gd name="T42" fmla="*/ 548 w 1721"/>
                <a:gd name="T43" fmla="*/ 1069 h 1235"/>
                <a:gd name="T44" fmla="*/ 435 w 1721"/>
                <a:gd name="T45" fmla="*/ 1000 h 1235"/>
                <a:gd name="T46" fmla="*/ 348 w 1721"/>
                <a:gd name="T47" fmla="*/ 982 h 1235"/>
                <a:gd name="T48" fmla="*/ 299 w 1721"/>
                <a:gd name="T49" fmla="*/ 925 h 1235"/>
                <a:gd name="T50" fmla="*/ 214 w 1721"/>
                <a:gd name="T51" fmla="*/ 824 h 1235"/>
                <a:gd name="T52" fmla="*/ 277 w 1721"/>
                <a:gd name="T53" fmla="*/ 765 h 1235"/>
                <a:gd name="T54" fmla="*/ 347 w 1721"/>
                <a:gd name="T55" fmla="*/ 715 h 1235"/>
                <a:gd name="T56" fmla="*/ 290 w 1721"/>
                <a:gd name="T57" fmla="*/ 676 h 1235"/>
                <a:gd name="T58" fmla="*/ 251 w 1721"/>
                <a:gd name="T59" fmla="*/ 651 h 1235"/>
                <a:gd name="T60" fmla="*/ 169 w 1721"/>
                <a:gd name="T61" fmla="*/ 649 h 1235"/>
                <a:gd name="T62" fmla="*/ 150 w 1721"/>
                <a:gd name="T63" fmla="*/ 611 h 1235"/>
                <a:gd name="T64" fmla="*/ 124 w 1721"/>
                <a:gd name="T65" fmla="*/ 573 h 1235"/>
                <a:gd name="T66" fmla="*/ 59 w 1721"/>
                <a:gd name="T67" fmla="*/ 554 h 1235"/>
                <a:gd name="T68" fmla="*/ 2 w 1721"/>
                <a:gd name="T69" fmla="*/ 468 h 1235"/>
                <a:gd name="T70" fmla="*/ 89 w 1721"/>
                <a:gd name="T71" fmla="*/ 404 h 1235"/>
                <a:gd name="T72" fmla="*/ 221 w 1721"/>
                <a:gd name="T73" fmla="*/ 351 h 1235"/>
                <a:gd name="T74" fmla="*/ 232 w 1721"/>
                <a:gd name="T75" fmla="*/ 322 h 1235"/>
                <a:gd name="T76" fmla="*/ 243 w 1721"/>
                <a:gd name="T77" fmla="*/ 290 h 1235"/>
                <a:gd name="T78" fmla="*/ 322 w 1721"/>
                <a:gd name="T79" fmla="*/ 271 h 1235"/>
                <a:gd name="T80" fmla="*/ 355 w 1721"/>
                <a:gd name="T81" fmla="*/ 246 h 1235"/>
                <a:gd name="T82" fmla="*/ 379 w 1721"/>
                <a:gd name="T83" fmla="*/ 306 h 1235"/>
                <a:gd name="T84" fmla="*/ 405 w 1721"/>
                <a:gd name="T85" fmla="*/ 322 h 1235"/>
                <a:gd name="T86" fmla="*/ 459 w 1721"/>
                <a:gd name="T87" fmla="*/ 273 h 1235"/>
                <a:gd name="T88" fmla="*/ 490 w 1721"/>
                <a:gd name="T89" fmla="*/ 200 h 1235"/>
                <a:gd name="T90" fmla="*/ 634 w 1721"/>
                <a:gd name="T91" fmla="*/ 110 h 1235"/>
                <a:gd name="T92" fmla="*/ 766 w 1721"/>
                <a:gd name="T93" fmla="*/ 125 h 1235"/>
                <a:gd name="T94" fmla="*/ 813 w 1721"/>
                <a:gd name="T95" fmla="*/ 90 h 1235"/>
                <a:gd name="T96" fmla="*/ 864 w 1721"/>
                <a:gd name="T97" fmla="*/ 65 h 1235"/>
                <a:gd name="T98" fmla="*/ 1095 w 1721"/>
                <a:gd name="T99" fmla="*/ 181 h 1235"/>
                <a:gd name="T100" fmla="*/ 1294 w 1721"/>
                <a:gd name="T101" fmla="*/ 225 h 1235"/>
                <a:gd name="T102" fmla="*/ 1371 w 1721"/>
                <a:gd name="T103" fmla="*/ 417 h 1235"/>
                <a:gd name="T104" fmla="*/ 1555 w 1721"/>
                <a:gd name="T105" fmla="*/ 525 h 1235"/>
                <a:gd name="T106" fmla="*/ 1636 w 1721"/>
                <a:gd name="T107" fmla="*/ 442 h 1235"/>
                <a:gd name="T108" fmla="*/ 1514 w 1721"/>
                <a:gd name="T109" fmla="*/ 331 h 1235"/>
                <a:gd name="T110" fmla="*/ 1447 w 1721"/>
                <a:gd name="T111" fmla="*/ 119 h 1235"/>
                <a:gd name="T112" fmla="*/ 1309 w 1721"/>
                <a:gd name="T113" fmla="*/ 41 h 1235"/>
                <a:gd name="T114" fmla="*/ 1214 w 1721"/>
                <a:gd name="T115" fmla="*/ 25 h 1235"/>
                <a:gd name="T116" fmla="*/ 1664 w 1721"/>
                <a:gd name="T117" fmla="*/ 525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1" h="1235">
                  <a:moveTo>
                    <a:pt x="877" y="64"/>
                  </a:moveTo>
                  <a:lnTo>
                    <a:pt x="885" y="85"/>
                  </a:lnTo>
                  <a:lnTo>
                    <a:pt x="888" y="101"/>
                  </a:lnTo>
                  <a:lnTo>
                    <a:pt x="870" y="129"/>
                  </a:lnTo>
                  <a:lnTo>
                    <a:pt x="878" y="158"/>
                  </a:lnTo>
                  <a:lnTo>
                    <a:pt x="894" y="129"/>
                  </a:lnTo>
                  <a:lnTo>
                    <a:pt x="919" y="150"/>
                  </a:lnTo>
                  <a:lnTo>
                    <a:pt x="924" y="176"/>
                  </a:lnTo>
                  <a:lnTo>
                    <a:pt x="950" y="189"/>
                  </a:lnTo>
                  <a:lnTo>
                    <a:pt x="976" y="179"/>
                  </a:lnTo>
                  <a:lnTo>
                    <a:pt x="1002" y="202"/>
                  </a:lnTo>
                  <a:lnTo>
                    <a:pt x="1007" y="228"/>
                  </a:lnTo>
                  <a:lnTo>
                    <a:pt x="1002" y="253"/>
                  </a:lnTo>
                  <a:lnTo>
                    <a:pt x="981" y="279"/>
                  </a:lnTo>
                  <a:lnTo>
                    <a:pt x="956" y="302"/>
                  </a:lnTo>
                  <a:lnTo>
                    <a:pt x="927" y="311"/>
                  </a:lnTo>
                  <a:lnTo>
                    <a:pt x="927" y="316"/>
                  </a:lnTo>
                  <a:lnTo>
                    <a:pt x="952" y="331"/>
                  </a:lnTo>
                  <a:lnTo>
                    <a:pt x="950" y="360"/>
                  </a:lnTo>
                  <a:lnTo>
                    <a:pt x="942" y="385"/>
                  </a:lnTo>
                  <a:lnTo>
                    <a:pt x="922" y="396"/>
                  </a:lnTo>
                  <a:lnTo>
                    <a:pt x="896" y="419"/>
                  </a:lnTo>
                  <a:lnTo>
                    <a:pt x="894" y="445"/>
                  </a:lnTo>
                  <a:lnTo>
                    <a:pt x="906" y="419"/>
                  </a:lnTo>
                  <a:lnTo>
                    <a:pt x="931" y="401"/>
                  </a:lnTo>
                  <a:lnTo>
                    <a:pt x="961" y="385"/>
                  </a:lnTo>
                  <a:lnTo>
                    <a:pt x="965" y="360"/>
                  </a:lnTo>
                  <a:lnTo>
                    <a:pt x="968" y="331"/>
                  </a:lnTo>
                  <a:lnTo>
                    <a:pt x="989" y="306"/>
                  </a:lnTo>
                  <a:lnTo>
                    <a:pt x="1014" y="285"/>
                  </a:lnTo>
                  <a:lnTo>
                    <a:pt x="1020" y="311"/>
                  </a:lnTo>
                  <a:lnTo>
                    <a:pt x="1025" y="313"/>
                  </a:lnTo>
                  <a:lnTo>
                    <a:pt x="1037" y="295"/>
                  </a:lnTo>
                  <a:lnTo>
                    <a:pt x="1067" y="311"/>
                  </a:lnTo>
                  <a:lnTo>
                    <a:pt x="1082" y="308"/>
                  </a:lnTo>
                  <a:lnTo>
                    <a:pt x="1110" y="308"/>
                  </a:lnTo>
                  <a:lnTo>
                    <a:pt x="1136" y="302"/>
                  </a:lnTo>
                  <a:lnTo>
                    <a:pt x="1165" y="311"/>
                  </a:lnTo>
                  <a:lnTo>
                    <a:pt x="1191" y="313"/>
                  </a:lnTo>
                  <a:lnTo>
                    <a:pt x="1219" y="318"/>
                  </a:lnTo>
                  <a:lnTo>
                    <a:pt x="1245" y="329"/>
                  </a:lnTo>
                  <a:lnTo>
                    <a:pt x="1271" y="323"/>
                  </a:lnTo>
                  <a:lnTo>
                    <a:pt x="1268" y="352"/>
                  </a:lnTo>
                  <a:lnTo>
                    <a:pt x="1265" y="378"/>
                  </a:lnTo>
                  <a:lnTo>
                    <a:pt x="1276" y="403"/>
                  </a:lnTo>
                  <a:lnTo>
                    <a:pt x="1304" y="419"/>
                  </a:lnTo>
                  <a:lnTo>
                    <a:pt x="1330" y="435"/>
                  </a:lnTo>
                  <a:lnTo>
                    <a:pt x="1327" y="463"/>
                  </a:lnTo>
                  <a:lnTo>
                    <a:pt x="1332" y="489"/>
                  </a:lnTo>
                  <a:lnTo>
                    <a:pt x="1359" y="518"/>
                  </a:lnTo>
                  <a:lnTo>
                    <a:pt x="1387" y="515"/>
                  </a:lnTo>
                  <a:lnTo>
                    <a:pt x="1413" y="528"/>
                  </a:lnTo>
                  <a:lnTo>
                    <a:pt x="1424" y="553"/>
                  </a:lnTo>
                  <a:lnTo>
                    <a:pt x="1421" y="580"/>
                  </a:lnTo>
                  <a:lnTo>
                    <a:pt x="1431" y="608"/>
                  </a:lnTo>
                  <a:lnTo>
                    <a:pt x="1408" y="636"/>
                  </a:lnTo>
                  <a:lnTo>
                    <a:pt x="1382" y="657"/>
                  </a:lnTo>
                  <a:lnTo>
                    <a:pt x="1364" y="686"/>
                  </a:lnTo>
                  <a:lnTo>
                    <a:pt x="1348" y="737"/>
                  </a:lnTo>
                  <a:lnTo>
                    <a:pt x="1341" y="767"/>
                  </a:lnTo>
                  <a:lnTo>
                    <a:pt x="1343" y="795"/>
                  </a:lnTo>
                  <a:lnTo>
                    <a:pt x="1371" y="810"/>
                  </a:lnTo>
                  <a:lnTo>
                    <a:pt x="1387" y="836"/>
                  </a:lnTo>
                  <a:lnTo>
                    <a:pt x="1374" y="862"/>
                  </a:lnTo>
                  <a:lnTo>
                    <a:pt x="1359" y="887"/>
                  </a:lnTo>
                  <a:lnTo>
                    <a:pt x="1351" y="917"/>
                  </a:lnTo>
                  <a:lnTo>
                    <a:pt x="1343" y="942"/>
                  </a:lnTo>
                  <a:lnTo>
                    <a:pt x="1342" y="949"/>
                  </a:lnTo>
                  <a:lnTo>
                    <a:pt x="1336" y="947"/>
                  </a:lnTo>
                  <a:lnTo>
                    <a:pt x="1330" y="945"/>
                  </a:lnTo>
                  <a:lnTo>
                    <a:pt x="1324" y="944"/>
                  </a:lnTo>
                  <a:lnTo>
                    <a:pt x="1307" y="941"/>
                  </a:lnTo>
                  <a:lnTo>
                    <a:pt x="1296" y="939"/>
                  </a:lnTo>
                  <a:lnTo>
                    <a:pt x="1285" y="935"/>
                  </a:lnTo>
                  <a:lnTo>
                    <a:pt x="1274" y="928"/>
                  </a:lnTo>
                  <a:lnTo>
                    <a:pt x="1263" y="922"/>
                  </a:lnTo>
                  <a:lnTo>
                    <a:pt x="1254" y="913"/>
                  </a:lnTo>
                  <a:lnTo>
                    <a:pt x="1245" y="901"/>
                  </a:lnTo>
                  <a:lnTo>
                    <a:pt x="1238" y="888"/>
                  </a:lnTo>
                  <a:lnTo>
                    <a:pt x="1231" y="876"/>
                  </a:lnTo>
                  <a:lnTo>
                    <a:pt x="1223" y="862"/>
                  </a:lnTo>
                  <a:lnTo>
                    <a:pt x="1216" y="850"/>
                  </a:lnTo>
                  <a:lnTo>
                    <a:pt x="1209" y="839"/>
                  </a:lnTo>
                  <a:lnTo>
                    <a:pt x="1201" y="831"/>
                  </a:lnTo>
                  <a:lnTo>
                    <a:pt x="1197" y="829"/>
                  </a:lnTo>
                  <a:lnTo>
                    <a:pt x="1193" y="825"/>
                  </a:lnTo>
                  <a:lnTo>
                    <a:pt x="1190" y="823"/>
                  </a:lnTo>
                  <a:lnTo>
                    <a:pt x="1185" y="822"/>
                  </a:lnTo>
                  <a:lnTo>
                    <a:pt x="1181" y="822"/>
                  </a:lnTo>
                  <a:lnTo>
                    <a:pt x="1177" y="822"/>
                  </a:lnTo>
                  <a:lnTo>
                    <a:pt x="1173" y="822"/>
                  </a:lnTo>
                  <a:lnTo>
                    <a:pt x="1169" y="823"/>
                  </a:lnTo>
                  <a:lnTo>
                    <a:pt x="1161" y="826"/>
                  </a:lnTo>
                  <a:lnTo>
                    <a:pt x="1155" y="832"/>
                  </a:lnTo>
                  <a:lnTo>
                    <a:pt x="1149" y="839"/>
                  </a:lnTo>
                  <a:lnTo>
                    <a:pt x="1145" y="846"/>
                  </a:lnTo>
                  <a:lnTo>
                    <a:pt x="1140" y="854"/>
                  </a:lnTo>
                  <a:lnTo>
                    <a:pt x="1137" y="859"/>
                  </a:lnTo>
                  <a:lnTo>
                    <a:pt x="1133" y="862"/>
                  </a:lnTo>
                  <a:lnTo>
                    <a:pt x="1129" y="863"/>
                  </a:lnTo>
                  <a:lnTo>
                    <a:pt x="1115" y="864"/>
                  </a:lnTo>
                  <a:lnTo>
                    <a:pt x="1095" y="865"/>
                  </a:lnTo>
                  <a:lnTo>
                    <a:pt x="1089" y="865"/>
                  </a:lnTo>
                  <a:lnTo>
                    <a:pt x="1085" y="867"/>
                  </a:lnTo>
                  <a:lnTo>
                    <a:pt x="1082" y="870"/>
                  </a:lnTo>
                  <a:lnTo>
                    <a:pt x="1079" y="872"/>
                  </a:lnTo>
                  <a:lnTo>
                    <a:pt x="1078" y="875"/>
                  </a:lnTo>
                  <a:lnTo>
                    <a:pt x="1077" y="878"/>
                  </a:lnTo>
                  <a:lnTo>
                    <a:pt x="1076" y="882"/>
                  </a:lnTo>
                  <a:lnTo>
                    <a:pt x="1077" y="886"/>
                  </a:lnTo>
                  <a:lnTo>
                    <a:pt x="1077" y="895"/>
                  </a:lnTo>
                  <a:lnTo>
                    <a:pt x="1078" y="904"/>
                  </a:lnTo>
                  <a:lnTo>
                    <a:pt x="1078" y="909"/>
                  </a:lnTo>
                  <a:lnTo>
                    <a:pt x="1077" y="915"/>
                  </a:lnTo>
                  <a:lnTo>
                    <a:pt x="1076" y="920"/>
                  </a:lnTo>
                  <a:lnTo>
                    <a:pt x="1074" y="924"/>
                  </a:lnTo>
                  <a:lnTo>
                    <a:pt x="1071" y="929"/>
                  </a:lnTo>
                  <a:lnTo>
                    <a:pt x="1067" y="934"/>
                  </a:lnTo>
                  <a:lnTo>
                    <a:pt x="1062" y="938"/>
                  </a:lnTo>
                  <a:lnTo>
                    <a:pt x="1055" y="942"/>
                  </a:lnTo>
                  <a:lnTo>
                    <a:pt x="1039" y="950"/>
                  </a:lnTo>
                  <a:lnTo>
                    <a:pt x="1018" y="960"/>
                  </a:lnTo>
                  <a:lnTo>
                    <a:pt x="992" y="968"/>
                  </a:lnTo>
                  <a:lnTo>
                    <a:pt x="962" y="979"/>
                  </a:lnTo>
                  <a:lnTo>
                    <a:pt x="927" y="989"/>
                  </a:lnTo>
                  <a:lnTo>
                    <a:pt x="887" y="1002"/>
                  </a:lnTo>
                  <a:lnTo>
                    <a:pt x="878" y="1006"/>
                  </a:lnTo>
                  <a:lnTo>
                    <a:pt x="869" y="1010"/>
                  </a:lnTo>
                  <a:lnTo>
                    <a:pt x="859" y="1014"/>
                  </a:lnTo>
                  <a:lnTo>
                    <a:pt x="851" y="1020"/>
                  </a:lnTo>
                  <a:lnTo>
                    <a:pt x="843" y="1025"/>
                  </a:lnTo>
                  <a:lnTo>
                    <a:pt x="836" y="1031"/>
                  </a:lnTo>
                  <a:lnTo>
                    <a:pt x="829" y="1038"/>
                  </a:lnTo>
                  <a:lnTo>
                    <a:pt x="822" y="1044"/>
                  </a:lnTo>
                  <a:lnTo>
                    <a:pt x="811" y="1058"/>
                  </a:lnTo>
                  <a:lnTo>
                    <a:pt x="801" y="1071"/>
                  </a:lnTo>
                  <a:lnTo>
                    <a:pt x="793" y="1086"/>
                  </a:lnTo>
                  <a:lnTo>
                    <a:pt x="786" y="1102"/>
                  </a:lnTo>
                  <a:lnTo>
                    <a:pt x="780" y="1116"/>
                  </a:lnTo>
                  <a:lnTo>
                    <a:pt x="775" y="1131"/>
                  </a:lnTo>
                  <a:lnTo>
                    <a:pt x="771" y="1145"/>
                  </a:lnTo>
                  <a:lnTo>
                    <a:pt x="768" y="1158"/>
                  </a:lnTo>
                  <a:lnTo>
                    <a:pt x="761" y="1180"/>
                  </a:lnTo>
                  <a:lnTo>
                    <a:pt x="756" y="1196"/>
                  </a:lnTo>
                  <a:lnTo>
                    <a:pt x="746" y="1215"/>
                  </a:lnTo>
                  <a:lnTo>
                    <a:pt x="739" y="1223"/>
                  </a:lnTo>
                  <a:lnTo>
                    <a:pt x="736" y="1228"/>
                  </a:lnTo>
                  <a:lnTo>
                    <a:pt x="735" y="1228"/>
                  </a:lnTo>
                  <a:lnTo>
                    <a:pt x="725" y="1230"/>
                  </a:lnTo>
                  <a:lnTo>
                    <a:pt x="700" y="1233"/>
                  </a:lnTo>
                  <a:lnTo>
                    <a:pt x="684" y="1235"/>
                  </a:lnTo>
                  <a:lnTo>
                    <a:pt x="667" y="1235"/>
                  </a:lnTo>
                  <a:lnTo>
                    <a:pt x="651" y="1235"/>
                  </a:lnTo>
                  <a:lnTo>
                    <a:pt x="637" y="1233"/>
                  </a:lnTo>
                  <a:lnTo>
                    <a:pt x="630" y="1231"/>
                  </a:lnTo>
                  <a:lnTo>
                    <a:pt x="625" y="1229"/>
                  </a:lnTo>
                  <a:lnTo>
                    <a:pt x="621" y="1226"/>
                  </a:lnTo>
                  <a:lnTo>
                    <a:pt x="617" y="1221"/>
                  </a:lnTo>
                  <a:lnTo>
                    <a:pt x="615" y="1218"/>
                  </a:lnTo>
                  <a:lnTo>
                    <a:pt x="611" y="1213"/>
                  </a:lnTo>
                  <a:lnTo>
                    <a:pt x="610" y="1209"/>
                  </a:lnTo>
                  <a:lnTo>
                    <a:pt x="608" y="1205"/>
                  </a:lnTo>
                  <a:lnTo>
                    <a:pt x="607" y="1195"/>
                  </a:lnTo>
                  <a:lnTo>
                    <a:pt x="605" y="1186"/>
                  </a:lnTo>
                  <a:lnTo>
                    <a:pt x="603" y="1178"/>
                  </a:lnTo>
                  <a:lnTo>
                    <a:pt x="600" y="1173"/>
                  </a:lnTo>
                  <a:lnTo>
                    <a:pt x="599" y="1167"/>
                  </a:lnTo>
                  <a:lnTo>
                    <a:pt x="595" y="1157"/>
                  </a:lnTo>
                  <a:lnTo>
                    <a:pt x="589" y="1148"/>
                  </a:lnTo>
                  <a:lnTo>
                    <a:pt x="582" y="1136"/>
                  </a:lnTo>
                  <a:lnTo>
                    <a:pt x="576" y="1125"/>
                  </a:lnTo>
                  <a:lnTo>
                    <a:pt x="568" y="1113"/>
                  </a:lnTo>
                  <a:lnTo>
                    <a:pt x="563" y="1102"/>
                  </a:lnTo>
                  <a:lnTo>
                    <a:pt x="559" y="1090"/>
                  </a:lnTo>
                  <a:lnTo>
                    <a:pt x="555" y="1080"/>
                  </a:lnTo>
                  <a:lnTo>
                    <a:pt x="548" y="1069"/>
                  </a:lnTo>
                  <a:lnTo>
                    <a:pt x="541" y="1059"/>
                  </a:lnTo>
                  <a:lnTo>
                    <a:pt x="532" y="1049"/>
                  </a:lnTo>
                  <a:lnTo>
                    <a:pt x="521" y="1040"/>
                  </a:lnTo>
                  <a:lnTo>
                    <a:pt x="508" y="1031"/>
                  </a:lnTo>
                  <a:lnTo>
                    <a:pt x="495" y="1024"/>
                  </a:lnTo>
                  <a:lnTo>
                    <a:pt x="481" y="1018"/>
                  </a:lnTo>
                  <a:lnTo>
                    <a:pt x="456" y="1007"/>
                  </a:lnTo>
                  <a:lnTo>
                    <a:pt x="435" y="1000"/>
                  </a:lnTo>
                  <a:lnTo>
                    <a:pt x="425" y="997"/>
                  </a:lnTo>
                  <a:lnTo>
                    <a:pt x="414" y="995"/>
                  </a:lnTo>
                  <a:lnTo>
                    <a:pt x="404" y="993"/>
                  </a:lnTo>
                  <a:lnTo>
                    <a:pt x="391" y="991"/>
                  </a:lnTo>
                  <a:lnTo>
                    <a:pt x="377" y="990"/>
                  </a:lnTo>
                  <a:lnTo>
                    <a:pt x="366" y="988"/>
                  </a:lnTo>
                  <a:lnTo>
                    <a:pt x="356" y="985"/>
                  </a:lnTo>
                  <a:lnTo>
                    <a:pt x="348" y="982"/>
                  </a:lnTo>
                  <a:lnTo>
                    <a:pt x="342" y="978"/>
                  </a:lnTo>
                  <a:lnTo>
                    <a:pt x="336" y="972"/>
                  </a:lnTo>
                  <a:lnTo>
                    <a:pt x="332" y="968"/>
                  </a:lnTo>
                  <a:lnTo>
                    <a:pt x="331" y="963"/>
                  </a:lnTo>
                  <a:lnTo>
                    <a:pt x="328" y="957"/>
                  </a:lnTo>
                  <a:lnTo>
                    <a:pt x="321" y="948"/>
                  </a:lnTo>
                  <a:lnTo>
                    <a:pt x="311" y="938"/>
                  </a:lnTo>
                  <a:lnTo>
                    <a:pt x="299" y="925"/>
                  </a:lnTo>
                  <a:lnTo>
                    <a:pt x="267" y="895"/>
                  </a:lnTo>
                  <a:lnTo>
                    <a:pt x="232" y="860"/>
                  </a:lnTo>
                  <a:lnTo>
                    <a:pt x="225" y="851"/>
                  </a:lnTo>
                  <a:lnTo>
                    <a:pt x="219" y="843"/>
                  </a:lnTo>
                  <a:lnTo>
                    <a:pt x="216" y="837"/>
                  </a:lnTo>
                  <a:lnTo>
                    <a:pt x="214" y="832"/>
                  </a:lnTo>
                  <a:lnTo>
                    <a:pt x="212" y="828"/>
                  </a:lnTo>
                  <a:lnTo>
                    <a:pt x="214" y="824"/>
                  </a:lnTo>
                  <a:lnTo>
                    <a:pt x="215" y="821"/>
                  </a:lnTo>
                  <a:lnTo>
                    <a:pt x="217" y="819"/>
                  </a:lnTo>
                  <a:lnTo>
                    <a:pt x="231" y="812"/>
                  </a:lnTo>
                  <a:lnTo>
                    <a:pt x="243" y="805"/>
                  </a:lnTo>
                  <a:lnTo>
                    <a:pt x="247" y="795"/>
                  </a:lnTo>
                  <a:lnTo>
                    <a:pt x="256" y="781"/>
                  </a:lnTo>
                  <a:lnTo>
                    <a:pt x="264" y="774"/>
                  </a:lnTo>
                  <a:lnTo>
                    <a:pt x="277" y="765"/>
                  </a:lnTo>
                  <a:lnTo>
                    <a:pt x="295" y="753"/>
                  </a:lnTo>
                  <a:lnTo>
                    <a:pt x="321" y="740"/>
                  </a:lnTo>
                  <a:lnTo>
                    <a:pt x="333" y="734"/>
                  </a:lnTo>
                  <a:lnTo>
                    <a:pt x="341" y="728"/>
                  </a:lnTo>
                  <a:lnTo>
                    <a:pt x="344" y="725"/>
                  </a:lnTo>
                  <a:lnTo>
                    <a:pt x="346" y="721"/>
                  </a:lnTo>
                  <a:lnTo>
                    <a:pt x="347" y="718"/>
                  </a:lnTo>
                  <a:lnTo>
                    <a:pt x="347" y="715"/>
                  </a:lnTo>
                  <a:lnTo>
                    <a:pt x="346" y="713"/>
                  </a:lnTo>
                  <a:lnTo>
                    <a:pt x="345" y="710"/>
                  </a:lnTo>
                  <a:lnTo>
                    <a:pt x="343" y="707"/>
                  </a:lnTo>
                  <a:lnTo>
                    <a:pt x="341" y="705"/>
                  </a:lnTo>
                  <a:lnTo>
                    <a:pt x="334" y="699"/>
                  </a:lnTo>
                  <a:lnTo>
                    <a:pt x="327" y="694"/>
                  </a:lnTo>
                  <a:lnTo>
                    <a:pt x="309" y="685"/>
                  </a:lnTo>
                  <a:lnTo>
                    <a:pt x="290" y="676"/>
                  </a:lnTo>
                  <a:lnTo>
                    <a:pt x="281" y="672"/>
                  </a:lnTo>
                  <a:lnTo>
                    <a:pt x="273" y="668"/>
                  </a:lnTo>
                  <a:lnTo>
                    <a:pt x="267" y="664"/>
                  </a:lnTo>
                  <a:lnTo>
                    <a:pt x="264" y="661"/>
                  </a:lnTo>
                  <a:lnTo>
                    <a:pt x="261" y="656"/>
                  </a:lnTo>
                  <a:lnTo>
                    <a:pt x="258" y="654"/>
                  </a:lnTo>
                  <a:lnTo>
                    <a:pt x="254" y="652"/>
                  </a:lnTo>
                  <a:lnTo>
                    <a:pt x="251" y="651"/>
                  </a:lnTo>
                  <a:lnTo>
                    <a:pt x="245" y="650"/>
                  </a:lnTo>
                  <a:lnTo>
                    <a:pt x="239" y="651"/>
                  </a:lnTo>
                  <a:lnTo>
                    <a:pt x="224" y="655"/>
                  </a:lnTo>
                  <a:lnTo>
                    <a:pt x="206" y="657"/>
                  </a:lnTo>
                  <a:lnTo>
                    <a:pt x="197" y="657"/>
                  </a:lnTo>
                  <a:lnTo>
                    <a:pt x="187" y="655"/>
                  </a:lnTo>
                  <a:lnTo>
                    <a:pt x="178" y="653"/>
                  </a:lnTo>
                  <a:lnTo>
                    <a:pt x="169" y="649"/>
                  </a:lnTo>
                  <a:lnTo>
                    <a:pt x="165" y="646"/>
                  </a:lnTo>
                  <a:lnTo>
                    <a:pt x="162" y="643"/>
                  </a:lnTo>
                  <a:lnTo>
                    <a:pt x="159" y="639"/>
                  </a:lnTo>
                  <a:lnTo>
                    <a:pt x="156" y="634"/>
                  </a:lnTo>
                  <a:lnTo>
                    <a:pt x="154" y="630"/>
                  </a:lnTo>
                  <a:lnTo>
                    <a:pt x="152" y="624"/>
                  </a:lnTo>
                  <a:lnTo>
                    <a:pt x="151" y="618"/>
                  </a:lnTo>
                  <a:lnTo>
                    <a:pt x="150" y="611"/>
                  </a:lnTo>
                  <a:lnTo>
                    <a:pt x="148" y="604"/>
                  </a:lnTo>
                  <a:lnTo>
                    <a:pt x="147" y="598"/>
                  </a:lnTo>
                  <a:lnTo>
                    <a:pt x="144" y="592"/>
                  </a:lnTo>
                  <a:lnTo>
                    <a:pt x="141" y="587"/>
                  </a:lnTo>
                  <a:lnTo>
                    <a:pt x="138" y="583"/>
                  </a:lnTo>
                  <a:lnTo>
                    <a:pt x="134" y="580"/>
                  </a:lnTo>
                  <a:lnTo>
                    <a:pt x="130" y="577"/>
                  </a:lnTo>
                  <a:lnTo>
                    <a:pt x="124" y="573"/>
                  </a:lnTo>
                  <a:lnTo>
                    <a:pt x="114" y="570"/>
                  </a:lnTo>
                  <a:lnTo>
                    <a:pt x="103" y="567"/>
                  </a:lnTo>
                  <a:lnTo>
                    <a:pt x="93" y="565"/>
                  </a:lnTo>
                  <a:lnTo>
                    <a:pt x="82" y="564"/>
                  </a:lnTo>
                  <a:lnTo>
                    <a:pt x="74" y="563"/>
                  </a:lnTo>
                  <a:lnTo>
                    <a:pt x="68" y="561"/>
                  </a:lnTo>
                  <a:lnTo>
                    <a:pt x="62" y="558"/>
                  </a:lnTo>
                  <a:lnTo>
                    <a:pt x="59" y="554"/>
                  </a:lnTo>
                  <a:lnTo>
                    <a:pt x="53" y="542"/>
                  </a:lnTo>
                  <a:lnTo>
                    <a:pt x="46" y="523"/>
                  </a:lnTo>
                  <a:lnTo>
                    <a:pt x="40" y="512"/>
                  </a:lnTo>
                  <a:lnTo>
                    <a:pt x="35" y="503"/>
                  </a:lnTo>
                  <a:lnTo>
                    <a:pt x="30" y="496"/>
                  </a:lnTo>
                  <a:lnTo>
                    <a:pt x="24" y="489"/>
                  </a:lnTo>
                  <a:lnTo>
                    <a:pt x="12" y="479"/>
                  </a:lnTo>
                  <a:lnTo>
                    <a:pt x="2" y="468"/>
                  </a:lnTo>
                  <a:lnTo>
                    <a:pt x="2" y="467"/>
                  </a:lnTo>
                  <a:lnTo>
                    <a:pt x="0" y="467"/>
                  </a:lnTo>
                  <a:lnTo>
                    <a:pt x="3" y="466"/>
                  </a:lnTo>
                  <a:lnTo>
                    <a:pt x="7" y="463"/>
                  </a:lnTo>
                  <a:lnTo>
                    <a:pt x="19" y="453"/>
                  </a:lnTo>
                  <a:lnTo>
                    <a:pt x="38" y="439"/>
                  </a:lnTo>
                  <a:lnTo>
                    <a:pt x="61" y="422"/>
                  </a:lnTo>
                  <a:lnTo>
                    <a:pt x="89" y="404"/>
                  </a:lnTo>
                  <a:lnTo>
                    <a:pt x="118" y="389"/>
                  </a:lnTo>
                  <a:lnTo>
                    <a:pt x="133" y="381"/>
                  </a:lnTo>
                  <a:lnTo>
                    <a:pt x="147" y="374"/>
                  </a:lnTo>
                  <a:lnTo>
                    <a:pt x="161" y="369"/>
                  </a:lnTo>
                  <a:lnTo>
                    <a:pt x="176" y="364"/>
                  </a:lnTo>
                  <a:lnTo>
                    <a:pt x="199" y="358"/>
                  </a:lnTo>
                  <a:lnTo>
                    <a:pt x="215" y="353"/>
                  </a:lnTo>
                  <a:lnTo>
                    <a:pt x="221" y="351"/>
                  </a:lnTo>
                  <a:lnTo>
                    <a:pt x="225" y="348"/>
                  </a:lnTo>
                  <a:lnTo>
                    <a:pt x="228" y="346"/>
                  </a:lnTo>
                  <a:lnTo>
                    <a:pt x="231" y="342"/>
                  </a:lnTo>
                  <a:lnTo>
                    <a:pt x="232" y="340"/>
                  </a:lnTo>
                  <a:lnTo>
                    <a:pt x="233" y="337"/>
                  </a:lnTo>
                  <a:lnTo>
                    <a:pt x="233" y="334"/>
                  </a:lnTo>
                  <a:lnTo>
                    <a:pt x="233" y="331"/>
                  </a:lnTo>
                  <a:lnTo>
                    <a:pt x="232" y="322"/>
                  </a:lnTo>
                  <a:lnTo>
                    <a:pt x="232" y="313"/>
                  </a:lnTo>
                  <a:lnTo>
                    <a:pt x="232" y="308"/>
                  </a:lnTo>
                  <a:lnTo>
                    <a:pt x="233" y="304"/>
                  </a:lnTo>
                  <a:lnTo>
                    <a:pt x="235" y="299"/>
                  </a:lnTo>
                  <a:lnTo>
                    <a:pt x="236" y="296"/>
                  </a:lnTo>
                  <a:lnTo>
                    <a:pt x="238" y="294"/>
                  </a:lnTo>
                  <a:lnTo>
                    <a:pt x="241" y="292"/>
                  </a:lnTo>
                  <a:lnTo>
                    <a:pt x="243" y="290"/>
                  </a:lnTo>
                  <a:lnTo>
                    <a:pt x="247" y="289"/>
                  </a:lnTo>
                  <a:lnTo>
                    <a:pt x="265" y="285"/>
                  </a:lnTo>
                  <a:lnTo>
                    <a:pt x="292" y="281"/>
                  </a:lnTo>
                  <a:lnTo>
                    <a:pt x="305" y="279"/>
                  </a:lnTo>
                  <a:lnTo>
                    <a:pt x="313" y="278"/>
                  </a:lnTo>
                  <a:lnTo>
                    <a:pt x="317" y="276"/>
                  </a:lnTo>
                  <a:lnTo>
                    <a:pt x="321" y="274"/>
                  </a:lnTo>
                  <a:lnTo>
                    <a:pt x="322" y="271"/>
                  </a:lnTo>
                  <a:lnTo>
                    <a:pt x="324" y="267"/>
                  </a:lnTo>
                  <a:lnTo>
                    <a:pt x="327" y="262"/>
                  </a:lnTo>
                  <a:lnTo>
                    <a:pt x="333" y="256"/>
                  </a:lnTo>
                  <a:lnTo>
                    <a:pt x="341" y="250"/>
                  </a:lnTo>
                  <a:lnTo>
                    <a:pt x="347" y="246"/>
                  </a:lnTo>
                  <a:lnTo>
                    <a:pt x="350" y="246"/>
                  </a:lnTo>
                  <a:lnTo>
                    <a:pt x="352" y="246"/>
                  </a:lnTo>
                  <a:lnTo>
                    <a:pt x="355" y="246"/>
                  </a:lnTo>
                  <a:lnTo>
                    <a:pt x="357" y="248"/>
                  </a:lnTo>
                  <a:lnTo>
                    <a:pt x="359" y="250"/>
                  </a:lnTo>
                  <a:lnTo>
                    <a:pt x="363" y="254"/>
                  </a:lnTo>
                  <a:lnTo>
                    <a:pt x="365" y="258"/>
                  </a:lnTo>
                  <a:lnTo>
                    <a:pt x="367" y="265"/>
                  </a:lnTo>
                  <a:lnTo>
                    <a:pt x="372" y="279"/>
                  </a:lnTo>
                  <a:lnTo>
                    <a:pt x="377" y="300"/>
                  </a:lnTo>
                  <a:lnTo>
                    <a:pt x="379" y="306"/>
                  </a:lnTo>
                  <a:lnTo>
                    <a:pt x="381" y="310"/>
                  </a:lnTo>
                  <a:lnTo>
                    <a:pt x="384" y="314"/>
                  </a:lnTo>
                  <a:lnTo>
                    <a:pt x="386" y="317"/>
                  </a:lnTo>
                  <a:lnTo>
                    <a:pt x="388" y="319"/>
                  </a:lnTo>
                  <a:lnTo>
                    <a:pt x="391" y="321"/>
                  </a:lnTo>
                  <a:lnTo>
                    <a:pt x="394" y="322"/>
                  </a:lnTo>
                  <a:lnTo>
                    <a:pt x="397" y="322"/>
                  </a:lnTo>
                  <a:lnTo>
                    <a:pt x="405" y="322"/>
                  </a:lnTo>
                  <a:lnTo>
                    <a:pt x="412" y="320"/>
                  </a:lnTo>
                  <a:lnTo>
                    <a:pt x="419" y="316"/>
                  </a:lnTo>
                  <a:lnTo>
                    <a:pt x="427" y="311"/>
                  </a:lnTo>
                  <a:lnTo>
                    <a:pt x="434" y="305"/>
                  </a:lnTo>
                  <a:lnTo>
                    <a:pt x="441" y="297"/>
                  </a:lnTo>
                  <a:lnTo>
                    <a:pt x="448" y="289"/>
                  </a:lnTo>
                  <a:lnTo>
                    <a:pt x="454" y="281"/>
                  </a:lnTo>
                  <a:lnTo>
                    <a:pt x="459" y="273"/>
                  </a:lnTo>
                  <a:lnTo>
                    <a:pt x="463" y="266"/>
                  </a:lnTo>
                  <a:lnTo>
                    <a:pt x="467" y="259"/>
                  </a:lnTo>
                  <a:lnTo>
                    <a:pt x="469" y="253"/>
                  </a:lnTo>
                  <a:lnTo>
                    <a:pt x="472" y="234"/>
                  </a:lnTo>
                  <a:lnTo>
                    <a:pt x="475" y="219"/>
                  </a:lnTo>
                  <a:lnTo>
                    <a:pt x="478" y="210"/>
                  </a:lnTo>
                  <a:lnTo>
                    <a:pt x="478" y="207"/>
                  </a:lnTo>
                  <a:lnTo>
                    <a:pt x="490" y="200"/>
                  </a:lnTo>
                  <a:lnTo>
                    <a:pt x="519" y="181"/>
                  </a:lnTo>
                  <a:lnTo>
                    <a:pt x="556" y="155"/>
                  </a:lnTo>
                  <a:lnTo>
                    <a:pt x="592" y="129"/>
                  </a:lnTo>
                  <a:lnTo>
                    <a:pt x="601" y="123"/>
                  </a:lnTo>
                  <a:lnTo>
                    <a:pt x="609" y="119"/>
                  </a:lnTo>
                  <a:lnTo>
                    <a:pt x="618" y="114"/>
                  </a:lnTo>
                  <a:lnTo>
                    <a:pt x="626" y="112"/>
                  </a:lnTo>
                  <a:lnTo>
                    <a:pt x="634" y="110"/>
                  </a:lnTo>
                  <a:lnTo>
                    <a:pt x="644" y="109"/>
                  </a:lnTo>
                  <a:lnTo>
                    <a:pt x="652" y="109"/>
                  </a:lnTo>
                  <a:lnTo>
                    <a:pt x="662" y="109"/>
                  </a:lnTo>
                  <a:lnTo>
                    <a:pt x="682" y="111"/>
                  </a:lnTo>
                  <a:lnTo>
                    <a:pt x="704" y="116"/>
                  </a:lnTo>
                  <a:lnTo>
                    <a:pt x="727" y="120"/>
                  </a:lnTo>
                  <a:lnTo>
                    <a:pt x="753" y="124"/>
                  </a:lnTo>
                  <a:lnTo>
                    <a:pt x="766" y="125"/>
                  </a:lnTo>
                  <a:lnTo>
                    <a:pt x="776" y="125"/>
                  </a:lnTo>
                  <a:lnTo>
                    <a:pt x="785" y="124"/>
                  </a:lnTo>
                  <a:lnTo>
                    <a:pt x="792" y="123"/>
                  </a:lnTo>
                  <a:lnTo>
                    <a:pt x="798" y="120"/>
                  </a:lnTo>
                  <a:lnTo>
                    <a:pt x="802" y="117"/>
                  </a:lnTo>
                  <a:lnTo>
                    <a:pt x="806" y="112"/>
                  </a:lnTo>
                  <a:lnTo>
                    <a:pt x="809" y="108"/>
                  </a:lnTo>
                  <a:lnTo>
                    <a:pt x="813" y="90"/>
                  </a:lnTo>
                  <a:lnTo>
                    <a:pt x="817" y="75"/>
                  </a:lnTo>
                  <a:lnTo>
                    <a:pt x="819" y="71"/>
                  </a:lnTo>
                  <a:lnTo>
                    <a:pt x="822" y="69"/>
                  </a:lnTo>
                  <a:lnTo>
                    <a:pt x="825" y="68"/>
                  </a:lnTo>
                  <a:lnTo>
                    <a:pt x="830" y="66"/>
                  </a:lnTo>
                  <a:lnTo>
                    <a:pt x="838" y="65"/>
                  </a:lnTo>
                  <a:lnTo>
                    <a:pt x="848" y="65"/>
                  </a:lnTo>
                  <a:lnTo>
                    <a:pt x="864" y="65"/>
                  </a:lnTo>
                  <a:lnTo>
                    <a:pt x="871" y="66"/>
                  </a:lnTo>
                  <a:lnTo>
                    <a:pt x="877" y="64"/>
                  </a:lnTo>
                  <a:close/>
                  <a:moveTo>
                    <a:pt x="1175" y="80"/>
                  </a:moveTo>
                  <a:lnTo>
                    <a:pt x="1191" y="108"/>
                  </a:lnTo>
                  <a:lnTo>
                    <a:pt x="1165" y="129"/>
                  </a:lnTo>
                  <a:lnTo>
                    <a:pt x="1139" y="145"/>
                  </a:lnTo>
                  <a:lnTo>
                    <a:pt x="1110" y="155"/>
                  </a:lnTo>
                  <a:lnTo>
                    <a:pt x="1095" y="181"/>
                  </a:lnTo>
                  <a:lnTo>
                    <a:pt x="1103" y="207"/>
                  </a:lnTo>
                  <a:lnTo>
                    <a:pt x="1131" y="205"/>
                  </a:lnTo>
                  <a:lnTo>
                    <a:pt x="1157" y="228"/>
                  </a:lnTo>
                  <a:lnTo>
                    <a:pt x="1185" y="223"/>
                  </a:lnTo>
                  <a:lnTo>
                    <a:pt x="1212" y="225"/>
                  </a:lnTo>
                  <a:lnTo>
                    <a:pt x="1240" y="209"/>
                  </a:lnTo>
                  <a:lnTo>
                    <a:pt x="1268" y="223"/>
                  </a:lnTo>
                  <a:lnTo>
                    <a:pt x="1294" y="225"/>
                  </a:lnTo>
                  <a:lnTo>
                    <a:pt x="1320" y="230"/>
                  </a:lnTo>
                  <a:lnTo>
                    <a:pt x="1332" y="258"/>
                  </a:lnTo>
                  <a:lnTo>
                    <a:pt x="1341" y="285"/>
                  </a:lnTo>
                  <a:lnTo>
                    <a:pt x="1341" y="311"/>
                  </a:lnTo>
                  <a:lnTo>
                    <a:pt x="1366" y="336"/>
                  </a:lnTo>
                  <a:lnTo>
                    <a:pt x="1382" y="362"/>
                  </a:lnTo>
                  <a:lnTo>
                    <a:pt x="1371" y="389"/>
                  </a:lnTo>
                  <a:lnTo>
                    <a:pt x="1371" y="417"/>
                  </a:lnTo>
                  <a:lnTo>
                    <a:pt x="1377" y="442"/>
                  </a:lnTo>
                  <a:lnTo>
                    <a:pt x="1394" y="468"/>
                  </a:lnTo>
                  <a:lnTo>
                    <a:pt x="1421" y="476"/>
                  </a:lnTo>
                  <a:lnTo>
                    <a:pt x="1449" y="484"/>
                  </a:lnTo>
                  <a:lnTo>
                    <a:pt x="1475" y="491"/>
                  </a:lnTo>
                  <a:lnTo>
                    <a:pt x="1504" y="500"/>
                  </a:lnTo>
                  <a:lnTo>
                    <a:pt x="1530" y="523"/>
                  </a:lnTo>
                  <a:lnTo>
                    <a:pt x="1555" y="525"/>
                  </a:lnTo>
                  <a:lnTo>
                    <a:pt x="1581" y="551"/>
                  </a:lnTo>
                  <a:lnTo>
                    <a:pt x="1606" y="562"/>
                  </a:lnTo>
                  <a:lnTo>
                    <a:pt x="1661" y="562"/>
                  </a:lnTo>
                  <a:lnTo>
                    <a:pt x="1666" y="536"/>
                  </a:lnTo>
                  <a:lnTo>
                    <a:pt x="1640" y="523"/>
                  </a:lnTo>
                  <a:lnTo>
                    <a:pt x="1617" y="497"/>
                  </a:lnTo>
                  <a:lnTo>
                    <a:pt x="1625" y="468"/>
                  </a:lnTo>
                  <a:lnTo>
                    <a:pt x="1636" y="442"/>
                  </a:lnTo>
                  <a:lnTo>
                    <a:pt x="1648" y="417"/>
                  </a:lnTo>
                  <a:lnTo>
                    <a:pt x="1674" y="394"/>
                  </a:lnTo>
                  <a:lnTo>
                    <a:pt x="1648" y="370"/>
                  </a:lnTo>
                  <a:lnTo>
                    <a:pt x="1620" y="364"/>
                  </a:lnTo>
                  <a:lnTo>
                    <a:pt x="1594" y="359"/>
                  </a:lnTo>
                  <a:lnTo>
                    <a:pt x="1568" y="350"/>
                  </a:lnTo>
                  <a:lnTo>
                    <a:pt x="1542" y="352"/>
                  </a:lnTo>
                  <a:lnTo>
                    <a:pt x="1514" y="331"/>
                  </a:lnTo>
                  <a:lnTo>
                    <a:pt x="1496" y="306"/>
                  </a:lnTo>
                  <a:lnTo>
                    <a:pt x="1486" y="279"/>
                  </a:lnTo>
                  <a:lnTo>
                    <a:pt x="1477" y="251"/>
                  </a:lnTo>
                  <a:lnTo>
                    <a:pt x="1467" y="225"/>
                  </a:lnTo>
                  <a:lnTo>
                    <a:pt x="1465" y="200"/>
                  </a:lnTo>
                  <a:lnTo>
                    <a:pt x="1459" y="173"/>
                  </a:lnTo>
                  <a:lnTo>
                    <a:pt x="1465" y="145"/>
                  </a:lnTo>
                  <a:lnTo>
                    <a:pt x="1447" y="119"/>
                  </a:lnTo>
                  <a:lnTo>
                    <a:pt x="1436" y="93"/>
                  </a:lnTo>
                  <a:lnTo>
                    <a:pt x="1415" y="67"/>
                  </a:lnTo>
                  <a:lnTo>
                    <a:pt x="1419" y="39"/>
                  </a:lnTo>
                  <a:lnTo>
                    <a:pt x="1392" y="18"/>
                  </a:lnTo>
                  <a:lnTo>
                    <a:pt x="1366" y="0"/>
                  </a:lnTo>
                  <a:lnTo>
                    <a:pt x="1341" y="13"/>
                  </a:lnTo>
                  <a:lnTo>
                    <a:pt x="1313" y="13"/>
                  </a:lnTo>
                  <a:lnTo>
                    <a:pt x="1309" y="41"/>
                  </a:lnTo>
                  <a:lnTo>
                    <a:pt x="1315" y="67"/>
                  </a:lnTo>
                  <a:lnTo>
                    <a:pt x="1327" y="93"/>
                  </a:lnTo>
                  <a:lnTo>
                    <a:pt x="1302" y="101"/>
                  </a:lnTo>
                  <a:lnTo>
                    <a:pt x="1283" y="75"/>
                  </a:lnTo>
                  <a:lnTo>
                    <a:pt x="1276" y="49"/>
                  </a:lnTo>
                  <a:lnTo>
                    <a:pt x="1268" y="20"/>
                  </a:lnTo>
                  <a:lnTo>
                    <a:pt x="1240" y="25"/>
                  </a:lnTo>
                  <a:lnTo>
                    <a:pt x="1214" y="25"/>
                  </a:lnTo>
                  <a:lnTo>
                    <a:pt x="1188" y="44"/>
                  </a:lnTo>
                  <a:lnTo>
                    <a:pt x="1170" y="72"/>
                  </a:lnTo>
                  <a:lnTo>
                    <a:pt x="1175" y="80"/>
                  </a:lnTo>
                  <a:close/>
                  <a:moveTo>
                    <a:pt x="1695" y="497"/>
                  </a:moveTo>
                  <a:lnTo>
                    <a:pt x="1721" y="507"/>
                  </a:lnTo>
                  <a:lnTo>
                    <a:pt x="1716" y="536"/>
                  </a:lnTo>
                  <a:lnTo>
                    <a:pt x="1689" y="539"/>
                  </a:lnTo>
                  <a:lnTo>
                    <a:pt x="1664" y="525"/>
                  </a:lnTo>
                  <a:lnTo>
                    <a:pt x="1682" y="500"/>
                  </a:lnTo>
                  <a:lnTo>
                    <a:pt x="1695" y="49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262626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172" name="Freeform 40"/>
            <p:cNvSpPr>
              <a:spLocks/>
            </p:cNvSpPr>
            <p:nvPr/>
          </p:nvSpPr>
          <p:spPr bwMode="auto">
            <a:xfrm>
              <a:off x="1258187" y="2624220"/>
              <a:ext cx="668516" cy="425099"/>
            </a:xfrm>
            <a:custGeom>
              <a:avLst/>
              <a:gdLst>
                <a:gd name="T0" fmla="*/ 2147483647 w 1137"/>
                <a:gd name="T1" fmla="*/ 2147483647 h 724"/>
                <a:gd name="T2" fmla="*/ 2147483647 w 1137"/>
                <a:gd name="T3" fmla="*/ 2147483647 h 724"/>
                <a:gd name="T4" fmla="*/ 2147483647 w 1137"/>
                <a:gd name="T5" fmla="*/ 2147483647 h 724"/>
                <a:gd name="T6" fmla="*/ 2147483647 w 1137"/>
                <a:gd name="T7" fmla="*/ 2147483647 h 724"/>
                <a:gd name="T8" fmla="*/ 2147483647 w 1137"/>
                <a:gd name="T9" fmla="*/ 2147483647 h 724"/>
                <a:gd name="T10" fmla="*/ 2147483647 w 1137"/>
                <a:gd name="T11" fmla="*/ 2147483647 h 724"/>
                <a:gd name="T12" fmla="*/ 2147483647 w 1137"/>
                <a:gd name="T13" fmla="*/ 2147483647 h 724"/>
                <a:gd name="T14" fmla="*/ 2147483647 w 1137"/>
                <a:gd name="T15" fmla="*/ 2147483647 h 724"/>
                <a:gd name="T16" fmla="*/ 2147483647 w 1137"/>
                <a:gd name="T17" fmla="*/ 2147483647 h 724"/>
                <a:gd name="T18" fmla="*/ 2147483647 w 1137"/>
                <a:gd name="T19" fmla="*/ 2147483647 h 724"/>
                <a:gd name="T20" fmla="*/ 2147483647 w 1137"/>
                <a:gd name="T21" fmla="*/ 2147483647 h 724"/>
                <a:gd name="T22" fmla="*/ 2147483647 w 1137"/>
                <a:gd name="T23" fmla="*/ 2147483647 h 724"/>
                <a:gd name="T24" fmla="*/ 2147483647 w 1137"/>
                <a:gd name="T25" fmla="*/ 2147483647 h 724"/>
                <a:gd name="T26" fmla="*/ 2147483647 w 1137"/>
                <a:gd name="T27" fmla="*/ 2147483647 h 724"/>
                <a:gd name="T28" fmla="*/ 2147483647 w 1137"/>
                <a:gd name="T29" fmla="*/ 2147483647 h 724"/>
                <a:gd name="T30" fmla="*/ 2147483647 w 1137"/>
                <a:gd name="T31" fmla="*/ 2147483647 h 724"/>
                <a:gd name="T32" fmla="*/ 2147483647 w 1137"/>
                <a:gd name="T33" fmla="*/ 2147483647 h 724"/>
                <a:gd name="T34" fmla="*/ 2147483647 w 1137"/>
                <a:gd name="T35" fmla="*/ 2147483647 h 724"/>
                <a:gd name="T36" fmla="*/ 2147483647 w 1137"/>
                <a:gd name="T37" fmla="*/ 2147483647 h 724"/>
                <a:gd name="T38" fmla="*/ 2147483647 w 1137"/>
                <a:gd name="T39" fmla="*/ 2147483647 h 724"/>
                <a:gd name="T40" fmla="*/ 2147483647 w 1137"/>
                <a:gd name="T41" fmla="*/ 2147483647 h 724"/>
                <a:gd name="T42" fmla="*/ 2147483647 w 1137"/>
                <a:gd name="T43" fmla="*/ 2147483647 h 724"/>
                <a:gd name="T44" fmla="*/ 2147483647 w 1137"/>
                <a:gd name="T45" fmla="*/ 2147483647 h 724"/>
                <a:gd name="T46" fmla="*/ 2147483647 w 1137"/>
                <a:gd name="T47" fmla="*/ 2147483647 h 724"/>
                <a:gd name="T48" fmla="*/ 2147483647 w 1137"/>
                <a:gd name="T49" fmla="*/ 2147483647 h 724"/>
                <a:gd name="T50" fmla="*/ 2147483647 w 1137"/>
                <a:gd name="T51" fmla="*/ 2147483647 h 724"/>
                <a:gd name="T52" fmla="*/ 2147483647 w 1137"/>
                <a:gd name="T53" fmla="*/ 2147483647 h 724"/>
                <a:gd name="T54" fmla="*/ 2147483647 w 1137"/>
                <a:gd name="T55" fmla="*/ 2147483647 h 724"/>
                <a:gd name="T56" fmla="*/ 2147483647 w 1137"/>
                <a:gd name="T57" fmla="*/ 2147483647 h 724"/>
                <a:gd name="T58" fmla="*/ 2147483647 w 1137"/>
                <a:gd name="T59" fmla="*/ 2147483647 h 724"/>
                <a:gd name="T60" fmla="*/ 2147483647 w 1137"/>
                <a:gd name="T61" fmla="*/ 2147483647 h 724"/>
                <a:gd name="T62" fmla="*/ 2147483647 w 1137"/>
                <a:gd name="T63" fmla="*/ 2147483647 h 724"/>
                <a:gd name="T64" fmla="*/ 2147483647 w 1137"/>
                <a:gd name="T65" fmla="*/ 2147483647 h 724"/>
                <a:gd name="T66" fmla="*/ 2147483647 w 1137"/>
                <a:gd name="T67" fmla="*/ 2147483647 h 724"/>
                <a:gd name="T68" fmla="*/ 2147483647 w 1137"/>
                <a:gd name="T69" fmla="*/ 2147483647 h 724"/>
                <a:gd name="T70" fmla="*/ 2147483647 w 1137"/>
                <a:gd name="T71" fmla="*/ 2147483647 h 724"/>
                <a:gd name="T72" fmla="*/ 2147483647 w 1137"/>
                <a:gd name="T73" fmla="*/ 2147483647 h 724"/>
                <a:gd name="T74" fmla="*/ 2147483647 w 1137"/>
                <a:gd name="T75" fmla="*/ 2147483647 h 724"/>
                <a:gd name="T76" fmla="*/ 2147483647 w 1137"/>
                <a:gd name="T77" fmla="*/ 2147483647 h 724"/>
                <a:gd name="T78" fmla="*/ 2147483647 w 1137"/>
                <a:gd name="T79" fmla="*/ 2147483647 h 724"/>
                <a:gd name="T80" fmla="*/ 2147483647 w 1137"/>
                <a:gd name="T81" fmla="*/ 2147483647 h 724"/>
                <a:gd name="T82" fmla="*/ 2147483647 w 1137"/>
                <a:gd name="T83" fmla="*/ 2147483647 h 724"/>
                <a:gd name="T84" fmla="*/ 2147483647 w 1137"/>
                <a:gd name="T85" fmla="*/ 2147483647 h 724"/>
                <a:gd name="T86" fmla="*/ 2147483647 w 1137"/>
                <a:gd name="T87" fmla="*/ 2147483647 h 724"/>
                <a:gd name="T88" fmla="*/ 2147483647 w 1137"/>
                <a:gd name="T89" fmla="*/ 2147483647 h 724"/>
                <a:gd name="T90" fmla="*/ 2147483647 w 1137"/>
                <a:gd name="T91" fmla="*/ 2147483647 h 724"/>
                <a:gd name="T92" fmla="*/ 2147483647 w 1137"/>
                <a:gd name="T93" fmla="*/ 2147483647 h 724"/>
                <a:gd name="T94" fmla="*/ 2147483647 w 1137"/>
                <a:gd name="T95" fmla="*/ 2147483647 h 724"/>
                <a:gd name="T96" fmla="*/ 2147483647 w 1137"/>
                <a:gd name="T97" fmla="*/ 2147483647 h 724"/>
                <a:gd name="T98" fmla="*/ 2147483647 w 1137"/>
                <a:gd name="T99" fmla="*/ 2147483647 h 724"/>
                <a:gd name="T100" fmla="*/ 2147483647 w 1137"/>
                <a:gd name="T101" fmla="*/ 2147483647 h 724"/>
                <a:gd name="T102" fmla="*/ 2147483647 w 1137"/>
                <a:gd name="T103" fmla="*/ 2147483647 h 724"/>
                <a:gd name="T104" fmla="*/ 2147483647 w 1137"/>
                <a:gd name="T105" fmla="*/ 2147483647 h 724"/>
                <a:gd name="T106" fmla="*/ 2147483647 w 1137"/>
                <a:gd name="T107" fmla="*/ 2147483647 h 724"/>
                <a:gd name="T108" fmla="*/ 2147483647 w 1137"/>
                <a:gd name="T109" fmla="*/ 2147483647 h 724"/>
                <a:gd name="T110" fmla="*/ 2147483647 w 1137"/>
                <a:gd name="T111" fmla="*/ 2147483647 h 724"/>
                <a:gd name="T112" fmla="*/ 2147483647 w 1137"/>
                <a:gd name="T113" fmla="*/ 2147483647 h 724"/>
                <a:gd name="T114" fmla="*/ 2147483647 w 1137"/>
                <a:gd name="T115" fmla="*/ 0 h 72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37" h="724">
                  <a:moveTo>
                    <a:pt x="761" y="1"/>
                  </a:moveTo>
                  <a:lnTo>
                    <a:pt x="773" y="17"/>
                  </a:lnTo>
                  <a:lnTo>
                    <a:pt x="799" y="36"/>
                  </a:lnTo>
                  <a:lnTo>
                    <a:pt x="827" y="55"/>
                  </a:lnTo>
                  <a:lnTo>
                    <a:pt x="854" y="70"/>
                  </a:lnTo>
                  <a:lnTo>
                    <a:pt x="879" y="84"/>
                  </a:lnTo>
                  <a:lnTo>
                    <a:pt x="898" y="109"/>
                  </a:lnTo>
                  <a:lnTo>
                    <a:pt x="918" y="84"/>
                  </a:lnTo>
                  <a:lnTo>
                    <a:pt x="946" y="78"/>
                  </a:lnTo>
                  <a:lnTo>
                    <a:pt x="975" y="94"/>
                  </a:lnTo>
                  <a:lnTo>
                    <a:pt x="1000" y="94"/>
                  </a:lnTo>
                  <a:lnTo>
                    <a:pt x="1027" y="109"/>
                  </a:lnTo>
                  <a:lnTo>
                    <a:pt x="1039" y="107"/>
                  </a:lnTo>
                  <a:lnTo>
                    <a:pt x="1066" y="98"/>
                  </a:lnTo>
                  <a:lnTo>
                    <a:pt x="1091" y="98"/>
                  </a:lnTo>
                  <a:lnTo>
                    <a:pt x="1101" y="125"/>
                  </a:lnTo>
                  <a:lnTo>
                    <a:pt x="1099" y="153"/>
                  </a:lnTo>
                  <a:lnTo>
                    <a:pt x="1104" y="179"/>
                  </a:lnTo>
                  <a:lnTo>
                    <a:pt x="1120" y="208"/>
                  </a:lnTo>
                  <a:lnTo>
                    <a:pt x="1117" y="234"/>
                  </a:lnTo>
                  <a:lnTo>
                    <a:pt x="1117" y="262"/>
                  </a:lnTo>
                  <a:lnTo>
                    <a:pt x="1122" y="291"/>
                  </a:lnTo>
                  <a:lnTo>
                    <a:pt x="1135" y="317"/>
                  </a:lnTo>
                  <a:lnTo>
                    <a:pt x="1137" y="321"/>
                  </a:lnTo>
                  <a:lnTo>
                    <a:pt x="1131" y="323"/>
                  </a:lnTo>
                  <a:lnTo>
                    <a:pt x="1124" y="322"/>
                  </a:lnTo>
                  <a:lnTo>
                    <a:pt x="1108" y="322"/>
                  </a:lnTo>
                  <a:lnTo>
                    <a:pt x="1098" y="322"/>
                  </a:lnTo>
                  <a:lnTo>
                    <a:pt x="1090" y="323"/>
                  </a:lnTo>
                  <a:lnTo>
                    <a:pt x="1085" y="325"/>
                  </a:lnTo>
                  <a:lnTo>
                    <a:pt x="1082" y="326"/>
                  </a:lnTo>
                  <a:lnTo>
                    <a:pt x="1079" y="328"/>
                  </a:lnTo>
                  <a:lnTo>
                    <a:pt x="1077" y="332"/>
                  </a:lnTo>
                  <a:lnTo>
                    <a:pt x="1073" y="347"/>
                  </a:lnTo>
                  <a:lnTo>
                    <a:pt x="1069" y="365"/>
                  </a:lnTo>
                  <a:lnTo>
                    <a:pt x="1066" y="369"/>
                  </a:lnTo>
                  <a:lnTo>
                    <a:pt x="1062" y="374"/>
                  </a:lnTo>
                  <a:lnTo>
                    <a:pt x="1058" y="377"/>
                  </a:lnTo>
                  <a:lnTo>
                    <a:pt x="1052" y="380"/>
                  </a:lnTo>
                  <a:lnTo>
                    <a:pt x="1045" y="381"/>
                  </a:lnTo>
                  <a:lnTo>
                    <a:pt x="1036" y="382"/>
                  </a:lnTo>
                  <a:lnTo>
                    <a:pt x="1026" y="382"/>
                  </a:lnTo>
                  <a:lnTo>
                    <a:pt x="1013" y="381"/>
                  </a:lnTo>
                  <a:lnTo>
                    <a:pt x="987" y="377"/>
                  </a:lnTo>
                  <a:lnTo>
                    <a:pt x="964" y="373"/>
                  </a:lnTo>
                  <a:lnTo>
                    <a:pt x="942" y="368"/>
                  </a:lnTo>
                  <a:lnTo>
                    <a:pt x="922" y="366"/>
                  </a:lnTo>
                  <a:lnTo>
                    <a:pt x="912" y="366"/>
                  </a:lnTo>
                  <a:lnTo>
                    <a:pt x="904" y="366"/>
                  </a:lnTo>
                  <a:lnTo>
                    <a:pt x="894" y="367"/>
                  </a:lnTo>
                  <a:lnTo>
                    <a:pt x="886" y="369"/>
                  </a:lnTo>
                  <a:lnTo>
                    <a:pt x="878" y="371"/>
                  </a:lnTo>
                  <a:lnTo>
                    <a:pt x="869" y="376"/>
                  </a:lnTo>
                  <a:lnTo>
                    <a:pt x="861" y="380"/>
                  </a:lnTo>
                  <a:lnTo>
                    <a:pt x="852" y="386"/>
                  </a:lnTo>
                  <a:lnTo>
                    <a:pt x="816" y="412"/>
                  </a:lnTo>
                  <a:lnTo>
                    <a:pt x="779" y="438"/>
                  </a:lnTo>
                  <a:lnTo>
                    <a:pt x="750" y="457"/>
                  </a:lnTo>
                  <a:lnTo>
                    <a:pt x="738" y="464"/>
                  </a:lnTo>
                  <a:lnTo>
                    <a:pt x="738" y="467"/>
                  </a:lnTo>
                  <a:lnTo>
                    <a:pt x="735" y="476"/>
                  </a:lnTo>
                  <a:lnTo>
                    <a:pt x="732" y="491"/>
                  </a:lnTo>
                  <a:lnTo>
                    <a:pt x="729" y="510"/>
                  </a:lnTo>
                  <a:lnTo>
                    <a:pt x="727" y="516"/>
                  </a:lnTo>
                  <a:lnTo>
                    <a:pt x="723" y="523"/>
                  </a:lnTo>
                  <a:lnTo>
                    <a:pt x="719" y="530"/>
                  </a:lnTo>
                  <a:lnTo>
                    <a:pt x="714" y="538"/>
                  </a:lnTo>
                  <a:lnTo>
                    <a:pt x="708" y="546"/>
                  </a:lnTo>
                  <a:lnTo>
                    <a:pt x="701" y="554"/>
                  </a:lnTo>
                  <a:lnTo>
                    <a:pt x="694" y="562"/>
                  </a:lnTo>
                  <a:lnTo>
                    <a:pt x="687" y="568"/>
                  </a:lnTo>
                  <a:lnTo>
                    <a:pt x="679" y="573"/>
                  </a:lnTo>
                  <a:lnTo>
                    <a:pt x="672" y="577"/>
                  </a:lnTo>
                  <a:lnTo>
                    <a:pt x="665" y="579"/>
                  </a:lnTo>
                  <a:lnTo>
                    <a:pt x="657" y="579"/>
                  </a:lnTo>
                  <a:lnTo>
                    <a:pt x="654" y="579"/>
                  </a:lnTo>
                  <a:lnTo>
                    <a:pt x="651" y="578"/>
                  </a:lnTo>
                  <a:lnTo>
                    <a:pt x="648" y="576"/>
                  </a:lnTo>
                  <a:lnTo>
                    <a:pt x="646" y="574"/>
                  </a:lnTo>
                  <a:lnTo>
                    <a:pt x="644" y="571"/>
                  </a:lnTo>
                  <a:lnTo>
                    <a:pt x="641" y="567"/>
                  </a:lnTo>
                  <a:lnTo>
                    <a:pt x="639" y="563"/>
                  </a:lnTo>
                  <a:lnTo>
                    <a:pt x="637" y="557"/>
                  </a:lnTo>
                  <a:lnTo>
                    <a:pt x="632" y="536"/>
                  </a:lnTo>
                  <a:lnTo>
                    <a:pt x="627" y="522"/>
                  </a:lnTo>
                  <a:lnTo>
                    <a:pt x="625" y="515"/>
                  </a:lnTo>
                  <a:lnTo>
                    <a:pt x="623" y="511"/>
                  </a:lnTo>
                  <a:lnTo>
                    <a:pt x="619" y="507"/>
                  </a:lnTo>
                  <a:lnTo>
                    <a:pt x="617" y="505"/>
                  </a:lnTo>
                  <a:lnTo>
                    <a:pt x="615" y="503"/>
                  </a:lnTo>
                  <a:lnTo>
                    <a:pt x="612" y="503"/>
                  </a:lnTo>
                  <a:lnTo>
                    <a:pt x="610" y="503"/>
                  </a:lnTo>
                  <a:lnTo>
                    <a:pt x="607" y="503"/>
                  </a:lnTo>
                  <a:lnTo>
                    <a:pt x="601" y="507"/>
                  </a:lnTo>
                  <a:lnTo>
                    <a:pt x="593" y="513"/>
                  </a:lnTo>
                  <a:lnTo>
                    <a:pt x="587" y="519"/>
                  </a:lnTo>
                  <a:lnTo>
                    <a:pt x="584" y="524"/>
                  </a:lnTo>
                  <a:lnTo>
                    <a:pt x="582" y="528"/>
                  </a:lnTo>
                  <a:lnTo>
                    <a:pt x="581" y="531"/>
                  </a:lnTo>
                  <a:lnTo>
                    <a:pt x="577" y="533"/>
                  </a:lnTo>
                  <a:lnTo>
                    <a:pt x="573" y="535"/>
                  </a:lnTo>
                  <a:lnTo>
                    <a:pt x="565" y="536"/>
                  </a:lnTo>
                  <a:lnTo>
                    <a:pt x="552" y="538"/>
                  </a:lnTo>
                  <a:lnTo>
                    <a:pt x="525" y="542"/>
                  </a:lnTo>
                  <a:lnTo>
                    <a:pt x="507" y="546"/>
                  </a:lnTo>
                  <a:lnTo>
                    <a:pt x="503" y="547"/>
                  </a:lnTo>
                  <a:lnTo>
                    <a:pt x="501" y="549"/>
                  </a:lnTo>
                  <a:lnTo>
                    <a:pt x="498" y="551"/>
                  </a:lnTo>
                  <a:lnTo>
                    <a:pt x="496" y="553"/>
                  </a:lnTo>
                  <a:lnTo>
                    <a:pt x="495" y="556"/>
                  </a:lnTo>
                  <a:lnTo>
                    <a:pt x="493" y="561"/>
                  </a:lnTo>
                  <a:lnTo>
                    <a:pt x="492" y="565"/>
                  </a:lnTo>
                  <a:lnTo>
                    <a:pt x="492" y="570"/>
                  </a:lnTo>
                  <a:lnTo>
                    <a:pt x="492" y="579"/>
                  </a:lnTo>
                  <a:lnTo>
                    <a:pt x="493" y="588"/>
                  </a:lnTo>
                  <a:lnTo>
                    <a:pt x="493" y="591"/>
                  </a:lnTo>
                  <a:lnTo>
                    <a:pt x="493" y="594"/>
                  </a:lnTo>
                  <a:lnTo>
                    <a:pt x="492" y="597"/>
                  </a:lnTo>
                  <a:lnTo>
                    <a:pt x="491" y="599"/>
                  </a:lnTo>
                  <a:lnTo>
                    <a:pt x="488" y="603"/>
                  </a:lnTo>
                  <a:lnTo>
                    <a:pt x="485" y="605"/>
                  </a:lnTo>
                  <a:lnTo>
                    <a:pt x="481" y="608"/>
                  </a:lnTo>
                  <a:lnTo>
                    <a:pt x="475" y="610"/>
                  </a:lnTo>
                  <a:lnTo>
                    <a:pt x="459" y="615"/>
                  </a:lnTo>
                  <a:lnTo>
                    <a:pt x="436" y="621"/>
                  </a:lnTo>
                  <a:lnTo>
                    <a:pt x="421" y="626"/>
                  </a:lnTo>
                  <a:lnTo>
                    <a:pt x="407" y="631"/>
                  </a:lnTo>
                  <a:lnTo>
                    <a:pt x="393" y="638"/>
                  </a:lnTo>
                  <a:lnTo>
                    <a:pt x="378" y="646"/>
                  </a:lnTo>
                  <a:lnTo>
                    <a:pt x="349" y="661"/>
                  </a:lnTo>
                  <a:lnTo>
                    <a:pt x="321" y="679"/>
                  </a:lnTo>
                  <a:lnTo>
                    <a:pt x="298" y="696"/>
                  </a:lnTo>
                  <a:lnTo>
                    <a:pt x="279" y="710"/>
                  </a:lnTo>
                  <a:lnTo>
                    <a:pt x="267" y="720"/>
                  </a:lnTo>
                  <a:lnTo>
                    <a:pt x="263" y="723"/>
                  </a:lnTo>
                  <a:lnTo>
                    <a:pt x="260" y="724"/>
                  </a:lnTo>
                  <a:lnTo>
                    <a:pt x="253" y="718"/>
                  </a:lnTo>
                  <a:lnTo>
                    <a:pt x="242" y="712"/>
                  </a:lnTo>
                  <a:lnTo>
                    <a:pt x="227" y="705"/>
                  </a:lnTo>
                  <a:lnTo>
                    <a:pt x="211" y="699"/>
                  </a:lnTo>
                  <a:lnTo>
                    <a:pt x="176" y="687"/>
                  </a:lnTo>
                  <a:lnTo>
                    <a:pt x="145" y="676"/>
                  </a:lnTo>
                  <a:lnTo>
                    <a:pt x="132" y="671"/>
                  </a:lnTo>
                  <a:lnTo>
                    <a:pt x="122" y="663"/>
                  </a:lnTo>
                  <a:lnTo>
                    <a:pt x="111" y="655"/>
                  </a:lnTo>
                  <a:lnTo>
                    <a:pt x="103" y="646"/>
                  </a:lnTo>
                  <a:lnTo>
                    <a:pt x="87" y="626"/>
                  </a:lnTo>
                  <a:lnTo>
                    <a:pt x="73" y="606"/>
                  </a:lnTo>
                  <a:lnTo>
                    <a:pt x="69" y="601"/>
                  </a:lnTo>
                  <a:lnTo>
                    <a:pt x="67" y="596"/>
                  </a:lnTo>
                  <a:lnTo>
                    <a:pt x="66" y="592"/>
                  </a:lnTo>
                  <a:lnTo>
                    <a:pt x="66" y="587"/>
                  </a:lnTo>
                  <a:lnTo>
                    <a:pt x="66" y="577"/>
                  </a:lnTo>
                  <a:lnTo>
                    <a:pt x="67" y="569"/>
                  </a:lnTo>
                  <a:lnTo>
                    <a:pt x="66" y="564"/>
                  </a:lnTo>
                  <a:lnTo>
                    <a:pt x="65" y="559"/>
                  </a:lnTo>
                  <a:lnTo>
                    <a:pt x="64" y="554"/>
                  </a:lnTo>
                  <a:lnTo>
                    <a:pt x="61" y="550"/>
                  </a:lnTo>
                  <a:lnTo>
                    <a:pt x="57" y="545"/>
                  </a:lnTo>
                  <a:lnTo>
                    <a:pt x="51" y="541"/>
                  </a:lnTo>
                  <a:lnTo>
                    <a:pt x="43" y="535"/>
                  </a:lnTo>
                  <a:lnTo>
                    <a:pt x="34" y="531"/>
                  </a:lnTo>
                  <a:lnTo>
                    <a:pt x="24" y="526"/>
                  </a:lnTo>
                  <a:lnTo>
                    <a:pt x="16" y="520"/>
                  </a:lnTo>
                  <a:lnTo>
                    <a:pt x="11" y="512"/>
                  </a:lnTo>
                  <a:lnTo>
                    <a:pt x="5" y="504"/>
                  </a:lnTo>
                  <a:lnTo>
                    <a:pt x="3" y="495"/>
                  </a:lnTo>
                  <a:lnTo>
                    <a:pt x="1" y="486"/>
                  </a:lnTo>
                  <a:lnTo>
                    <a:pt x="0" y="476"/>
                  </a:lnTo>
                  <a:lnTo>
                    <a:pt x="0" y="466"/>
                  </a:lnTo>
                  <a:lnTo>
                    <a:pt x="3" y="446"/>
                  </a:lnTo>
                  <a:lnTo>
                    <a:pt x="8" y="427"/>
                  </a:lnTo>
                  <a:lnTo>
                    <a:pt x="12" y="409"/>
                  </a:lnTo>
                  <a:lnTo>
                    <a:pt x="16" y="394"/>
                  </a:lnTo>
                  <a:lnTo>
                    <a:pt x="21" y="376"/>
                  </a:lnTo>
                  <a:lnTo>
                    <a:pt x="31" y="349"/>
                  </a:lnTo>
                  <a:lnTo>
                    <a:pt x="42" y="319"/>
                  </a:lnTo>
                  <a:lnTo>
                    <a:pt x="57" y="286"/>
                  </a:lnTo>
                  <a:lnTo>
                    <a:pt x="72" y="254"/>
                  </a:lnTo>
                  <a:lnTo>
                    <a:pt x="87" y="226"/>
                  </a:lnTo>
                  <a:lnTo>
                    <a:pt x="94" y="213"/>
                  </a:lnTo>
                  <a:lnTo>
                    <a:pt x="100" y="202"/>
                  </a:lnTo>
                  <a:lnTo>
                    <a:pt x="106" y="195"/>
                  </a:lnTo>
                  <a:lnTo>
                    <a:pt x="111" y="189"/>
                  </a:lnTo>
                  <a:lnTo>
                    <a:pt x="121" y="178"/>
                  </a:lnTo>
                  <a:lnTo>
                    <a:pt x="131" y="167"/>
                  </a:lnTo>
                  <a:lnTo>
                    <a:pt x="140" y="154"/>
                  </a:lnTo>
                  <a:lnTo>
                    <a:pt x="148" y="141"/>
                  </a:lnTo>
                  <a:lnTo>
                    <a:pt x="161" y="119"/>
                  </a:lnTo>
                  <a:lnTo>
                    <a:pt x="166" y="111"/>
                  </a:lnTo>
                  <a:lnTo>
                    <a:pt x="168" y="108"/>
                  </a:lnTo>
                  <a:lnTo>
                    <a:pt x="173" y="101"/>
                  </a:lnTo>
                  <a:lnTo>
                    <a:pt x="184" y="88"/>
                  </a:lnTo>
                  <a:lnTo>
                    <a:pt x="197" y="72"/>
                  </a:lnTo>
                  <a:lnTo>
                    <a:pt x="204" y="65"/>
                  </a:lnTo>
                  <a:lnTo>
                    <a:pt x="211" y="59"/>
                  </a:lnTo>
                  <a:lnTo>
                    <a:pt x="217" y="54"/>
                  </a:lnTo>
                  <a:lnTo>
                    <a:pt x="226" y="52"/>
                  </a:lnTo>
                  <a:lnTo>
                    <a:pt x="249" y="47"/>
                  </a:lnTo>
                  <a:lnTo>
                    <a:pt x="288" y="41"/>
                  </a:lnTo>
                  <a:lnTo>
                    <a:pt x="299" y="40"/>
                  </a:lnTo>
                  <a:lnTo>
                    <a:pt x="309" y="40"/>
                  </a:lnTo>
                  <a:lnTo>
                    <a:pt x="317" y="41"/>
                  </a:lnTo>
                  <a:lnTo>
                    <a:pt x="324" y="43"/>
                  </a:lnTo>
                  <a:lnTo>
                    <a:pt x="331" y="46"/>
                  </a:lnTo>
                  <a:lnTo>
                    <a:pt x="337" y="50"/>
                  </a:lnTo>
                  <a:lnTo>
                    <a:pt x="342" y="54"/>
                  </a:lnTo>
                  <a:lnTo>
                    <a:pt x="348" y="60"/>
                  </a:lnTo>
                  <a:lnTo>
                    <a:pt x="358" y="71"/>
                  </a:lnTo>
                  <a:lnTo>
                    <a:pt x="370" y="84"/>
                  </a:lnTo>
                  <a:lnTo>
                    <a:pt x="377" y="89"/>
                  </a:lnTo>
                  <a:lnTo>
                    <a:pt x="385" y="95"/>
                  </a:lnTo>
                  <a:lnTo>
                    <a:pt x="396" y="101"/>
                  </a:lnTo>
                  <a:lnTo>
                    <a:pt x="407" y="106"/>
                  </a:lnTo>
                  <a:lnTo>
                    <a:pt x="418" y="110"/>
                  </a:lnTo>
                  <a:lnTo>
                    <a:pt x="428" y="112"/>
                  </a:lnTo>
                  <a:lnTo>
                    <a:pt x="437" y="112"/>
                  </a:lnTo>
                  <a:lnTo>
                    <a:pt x="443" y="111"/>
                  </a:lnTo>
                  <a:lnTo>
                    <a:pt x="449" y="109"/>
                  </a:lnTo>
                  <a:lnTo>
                    <a:pt x="455" y="106"/>
                  </a:lnTo>
                  <a:lnTo>
                    <a:pt x="459" y="102"/>
                  </a:lnTo>
                  <a:lnTo>
                    <a:pt x="462" y="96"/>
                  </a:lnTo>
                  <a:lnTo>
                    <a:pt x="466" y="86"/>
                  </a:lnTo>
                  <a:lnTo>
                    <a:pt x="468" y="74"/>
                  </a:lnTo>
                  <a:lnTo>
                    <a:pt x="470" y="64"/>
                  </a:lnTo>
                  <a:lnTo>
                    <a:pt x="471" y="56"/>
                  </a:lnTo>
                  <a:lnTo>
                    <a:pt x="476" y="50"/>
                  </a:lnTo>
                  <a:lnTo>
                    <a:pt x="483" y="41"/>
                  </a:lnTo>
                  <a:lnTo>
                    <a:pt x="492" y="31"/>
                  </a:lnTo>
                  <a:lnTo>
                    <a:pt x="503" y="22"/>
                  </a:lnTo>
                  <a:lnTo>
                    <a:pt x="523" y="6"/>
                  </a:lnTo>
                  <a:lnTo>
                    <a:pt x="531" y="0"/>
                  </a:lnTo>
                  <a:lnTo>
                    <a:pt x="757" y="2"/>
                  </a:lnTo>
                  <a:lnTo>
                    <a:pt x="761" y="1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73" name="Freeform 41"/>
            <p:cNvSpPr>
              <a:spLocks noEditPoints="1"/>
            </p:cNvSpPr>
            <p:nvPr/>
          </p:nvSpPr>
          <p:spPr bwMode="auto">
            <a:xfrm>
              <a:off x="-36512" y="1239564"/>
              <a:ext cx="673807" cy="799044"/>
            </a:xfrm>
            <a:custGeom>
              <a:avLst/>
              <a:gdLst>
                <a:gd name="T0" fmla="*/ 2147483647 w 1147"/>
                <a:gd name="T1" fmla="*/ 2147483647 h 1359"/>
                <a:gd name="T2" fmla="*/ 2147483647 w 1147"/>
                <a:gd name="T3" fmla="*/ 2147483647 h 1359"/>
                <a:gd name="T4" fmla="*/ 2147483647 w 1147"/>
                <a:gd name="T5" fmla="*/ 2147483647 h 1359"/>
                <a:gd name="T6" fmla="*/ 2147483647 w 1147"/>
                <a:gd name="T7" fmla="*/ 2147483647 h 1359"/>
                <a:gd name="T8" fmla="*/ 2147483647 w 1147"/>
                <a:gd name="T9" fmla="*/ 2147483647 h 1359"/>
                <a:gd name="T10" fmla="*/ 2147483647 w 1147"/>
                <a:gd name="T11" fmla="*/ 2147483647 h 1359"/>
                <a:gd name="T12" fmla="*/ 2147483647 w 1147"/>
                <a:gd name="T13" fmla="*/ 2147483647 h 1359"/>
                <a:gd name="T14" fmla="*/ 2147483647 w 1147"/>
                <a:gd name="T15" fmla="*/ 2147483647 h 1359"/>
                <a:gd name="T16" fmla="*/ 2147483647 w 1147"/>
                <a:gd name="T17" fmla="*/ 2147483647 h 1359"/>
                <a:gd name="T18" fmla="*/ 2147483647 w 1147"/>
                <a:gd name="T19" fmla="*/ 2147483647 h 1359"/>
                <a:gd name="T20" fmla="*/ 2147483647 w 1147"/>
                <a:gd name="T21" fmla="*/ 2147483647 h 1359"/>
                <a:gd name="T22" fmla="*/ 2147483647 w 1147"/>
                <a:gd name="T23" fmla="*/ 2147483647 h 1359"/>
                <a:gd name="T24" fmla="*/ 2147483647 w 1147"/>
                <a:gd name="T25" fmla="*/ 2147483647 h 1359"/>
                <a:gd name="T26" fmla="*/ 2147483647 w 1147"/>
                <a:gd name="T27" fmla="*/ 2147483647 h 1359"/>
                <a:gd name="T28" fmla="*/ 2147483647 w 1147"/>
                <a:gd name="T29" fmla="*/ 2147483647 h 1359"/>
                <a:gd name="T30" fmla="*/ 2147483647 w 1147"/>
                <a:gd name="T31" fmla="*/ 2147483647 h 1359"/>
                <a:gd name="T32" fmla="*/ 2147483647 w 1147"/>
                <a:gd name="T33" fmla="*/ 2147483647 h 1359"/>
                <a:gd name="T34" fmla="*/ 2147483647 w 1147"/>
                <a:gd name="T35" fmla="*/ 2147483647 h 1359"/>
                <a:gd name="T36" fmla="*/ 2147483647 w 1147"/>
                <a:gd name="T37" fmla="*/ 2147483647 h 1359"/>
                <a:gd name="T38" fmla="*/ 2147483647 w 1147"/>
                <a:gd name="T39" fmla="*/ 2147483647 h 1359"/>
                <a:gd name="T40" fmla="*/ 2147483647 w 1147"/>
                <a:gd name="T41" fmla="*/ 2147483647 h 1359"/>
                <a:gd name="T42" fmla="*/ 2147483647 w 1147"/>
                <a:gd name="T43" fmla="*/ 2147483647 h 1359"/>
                <a:gd name="T44" fmla="*/ 2147483647 w 1147"/>
                <a:gd name="T45" fmla="*/ 2147483647 h 1359"/>
                <a:gd name="T46" fmla="*/ 2147483647 w 1147"/>
                <a:gd name="T47" fmla="*/ 2147483647 h 1359"/>
                <a:gd name="T48" fmla="*/ 2147483647 w 1147"/>
                <a:gd name="T49" fmla="*/ 2147483647 h 1359"/>
                <a:gd name="T50" fmla="*/ 2147483647 w 1147"/>
                <a:gd name="T51" fmla="*/ 2147483647 h 1359"/>
                <a:gd name="T52" fmla="*/ 2147483647 w 1147"/>
                <a:gd name="T53" fmla="*/ 2147483647 h 1359"/>
                <a:gd name="T54" fmla="*/ 2147483647 w 1147"/>
                <a:gd name="T55" fmla="*/ 2147483647 h 1359"/>
                <a:gd name="T56" fmla="*/ 2147483647 w 1147"/>
                <a:gd name="T57" fmla="*/ 2147483647 h 1359"/>
                <a:gd name="T58" fmla="*/ 2147483647 w 1147"/>
                <a:gd name="T59" fmla="*/ 2147483647 h 1359"/>
                <a:gd name="T60" fmla="*/ 2147483647 w 1147"/>
                <a:gd name="T61" fmla="*/ 2147483647 h 1359"/>
                <a:gd name="T62" fmla="*/ 2147483647 w 1147"/>
                <a:gd name="T63" fmla="*/ 2147483647 h 1359"/>
                <a:gd name="T64" fmla="*/ 2147483647 w 1147"/>
                <a:gd name="T65" fmla="*/ 2147483647 h 1359"/>
                <a:gd name="T66" fmla="*/ 2147483647 w 1147"/>
                <a:gd name="T67" fmla="*/ 2147483647 h 1359"/>
                <a:gd name="T68" fmla="*/ 2147483647 w 1147"/>
                <a:gd name="T69" fmla="*/ 2147483647 h 1359"/>
                <a:gd name="T70" fmla="*/ 2147483647 w 1147"/>
                <a:gd name="T71" fmla="*/ 2147483647 h 1359"/>
                <a:gd name="T72" fmla="*/ 2147483647 w 1147"/>
                <a:gd name="T73" fmla="*/ 2147483647 h 1359"/>
                <a:gd name="T74" fmla="*/ 2147483647 w 1147"/>
                <a:gd name="T75" fmla="*/ 2147483647 h 1359"/>
                <a:gd name="T76" fmla="*/ 2147483647 w 1147"/>
                <a:gd name="T77" fmla="*/ 2147483647 h 1359"/>
                <a:gd name="T78" fmla="*/ 2147483647 w 1147"/>
                <a:gd name="T79" fmla="*/ 2147483647 h 1359"/>
                <a:gd name="T80" fmla="*/ 2147483647 w 1147"/>
                <a:gd name="T81" fmla="*/ 2147483647 h 1359"/>
                <a:gd name="T82" fmla="*/ 2147483647 w 1147"/>
                <a:gd name="T83" fmla="*/ 2147483647 h 1359"/>
                <a:gd name="T84" fmla="*/ 2147483647 w 1147"/>
                <a:gd name="T85" fmla="*/ 2147483647 h 1359"/>
                <a:gd name="T86" fmla="*/ 2147483647 w 1147"/>
                <a:gd name="T87" fmla="*/ 2147483647 h 1359"/>
                <a:gd name="T88" fmla="*/ 2147483647 w 1147"/>
                <a:gd name="T89" fmla="*/ 2147483647 h 1359"/>
                <a:gd name="T90" fmla="*/ 2147483647 w 1147"/>
                <a:gd name="T91" fmla="*/ 2147483647 h 1359"/>
                <a:gd name="T92" fmla="*/ 2147483647 w 1147"/>
                <a:gd name="T93" fmla="*/ 2147483647 h 1359"/>
                <a:gd name="T94" fmla="*/ 2147483647 w 1147"/>
                <a:gd name="T95" fmla="*/ 2147483647 h 1359"/>
                <a:gd name="T96" fmla="*/ 2147483647 w 1147"/>
                <a:gd name="T97" fmla="*/ 2147483647 h 1359"/>
                <a:gd name="T98" fmla="*/ 2147483647 w 1147"/>
                <a:gd name="T99" fmla="*/ 2147483647 h 1359"/>
                <a:gd name="T100" fmla="*/ 2147483647 w 1147"/>
                <a:gd name="T101" fmla="*/ 2147483647 h 1359"/>
                <a:gd name="T102" fmla="*/ 2147483647 w 1147"/>
                <a:gd name="T103" fmla="*/ 2147483647 h 1359"/>
                <a:gd name="T104" fmla="*/ 2147483647 w 1147"/>
                <a:gd name="T105" fmla="*/ 2147483647 h 13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47" h="1359">
                  <a:moveTo>
                    <a:pt x="1035" y="1288"/>
                  </a:moveTo>
                  <a:lnTo>
                    <a:pt x="1027" y="1285"/>
                  </a:lnTo>
                  <a:lnTo>
                    <a:pt x="1000" y="1295"/>
                  </a:lnTo>
                  <a:lnTo>
                    <a:pt x="972" y="1282"/>
                  </a:lnTo>
                  <a:lnTo>
                    <a:pt x="947" y="1258"/>
                  </a:lnTo>
                  <a:lnTo>
                    <a:pt x="926" y="1230"/>
                  </a:lnTo>
                  <a:lnTo>
                    <a:pt x="923" y="1204"/>
                  </a:lnTo>
                  <a:lnTo>
                    <a:pt x="923" y="1150"/>
                  </a:lnTo>
                  <a:lnTo>
                    <a:pt x="913" y="1093"/>
                  </a:lnTo>
                  <a:lnTo>
                    <a:pt x="903" y="1067"/>
                  </a:lnTo>
                  <a:lnTo>
                    <a:pt x="876" y="1062"/>
                  </a:lnTo>
                  <a:lnTo>
                    <a:pt x="848" y="1052"/>
                  </a:lnTo>
                  <a:lnTo>
                    <a:pt x="822" y="1028"/>
                  </a:lnTo>
                  <a:lnTo>
                    <a:pt x="804" y="1002"/>
                  </a:lnTo>
                  <a:lnTo>
                    <a:pt x="797" y="976"/>
                  </a:lnTo>
                  <a:lnTo>
                    <a:pt x="788" y="948"/>
                  </a:lnTo>
                  <a:lnTo>
                    <a:pt x="760" y="937"/>
                  </a:lnTo>
                  <a:lnTo>
                    <a:pt x="742" y="912"/>
                  </a:lnTo>
                  <a:lnTo>
                    <a:pt x="724" y="886"/>
                  </a:lnTo>
                  <a:lnTo>
                    <a:pt x="708" y="859"/>
                  </a:lnTo>
                  <a:lnTo>
                    <a:pt x="696" y="834"/>
                  </a:lnTo>
                  <a:lnTo>
                    <a:pt x="668" y="815"/>
                  </a:lnTo>
                  <a:lnTo>
                    <a:pt x="657" y="790"/>
                  </a:lnTo>
                  <a:lnTo>
                    <a:pt x="629" y="772"/>
                  </a:lnTo>
                  <a:lnTo>
                    <a:pt x="602" y="759"/>
                  </a:lnTo>
                  <a:lnTo>
                    <a:pt x="576" y="759"/>
                  </a:lnTo>
                  <a:lnTo>
                    <a:pt x="548" y="764"/>
                  </a:lnTo>
                  <a:lnTo>
                    <a:pt x="520" y="759"/>
                  </a:lnTo>
                  <a:lnTo>
                    <a:pt x="494" y="735"/>
                  </a:lnTo>
                  <a:lnTo>
                    <a:pt x="473" y="709"/>
                  </a:lnTo>
                  <a:lnTo>
                    <a:pt x="456" y="684"/>
                  </a:lnTo>
                  <a:lnTo>
                    <a:pt x="437" y="656"/>
                  </a:lnTo>
                  <a:lnTo>
                    <a:pt x="411" y="629"/>
                  </a:lnTo>
                  <a:lnTo>
                    <a:pt x="385" y="624"/>
                  </a:lnTo>
                  <a:lnTo>
                    <a:pt x="362" y="598"/>
                  </a:lnTo>
                  <a:lnTo>
                    <a:pt x="336" y="583"/>
                  </a:lnTo>
                  <a:lnTo>
                    <a:pt x="311" y="554"/>
                  </a:lnTo>
                  <a:lnTo>
                    <a:pt x="290" y="529"/>
                  </a:lnTo>
                  <a:lnTo>
                    <a:pt x="261" y="502"/>
                  </a:lnTo>
                  <a:lnTo>
                    <a:pt x="238" y="477"/>
                  </a:lnTo>
                  <a:lnTo>
                    <a:pt x="210" y="456"/>
                  </a:lnTo>
                  <a:lnTo>
                    <a:pt x="184" y="433"/>
                  </a:lnTo>
                  <a:lnTo>
                    <a:pt x="166" y="407"/>
                  </a:lnTo>
                  <a:lnTo>
                    <a:pt x="140" y="381"/>
                  </a:lnTo>
                  <a:lnTo>
                    <a:pt x="132" y="352"/>
                  </a:lnTo>
                  <a:lnTo>
                    <a:pt x="122" y="326"/>
                  </a:lnTo>
                  <a:lnTo>
                    <a:pt x="111" y="301"/>
                  </a:lnTo>
                  <a:lnTo>
                    <a:pt x="90" y="272"/>
                  </a:lnTo>
                  <a:lnTo>
                    <a:pt x="88" y="246"/>
                  </a:lnTo>
                  <a:lnTo>
                    <a:pt x="72" y="218"/>
                  </a:lnTo>
                  <a:lnTo>
                    <a:pt x="70" y="192"/>
                  </a:lnTo>
                  <a:lnTo>
                    <a:pt x="75" y="166"/>
                  </a:lnTo>
                  <a:lnTo>
                    <a:pt x="67" y="140"/>
                  </a:lnTo>
                  <a:lnTo>
                    <a:pt x="67" y="114"/>
                  </a:lnTo>
                  <a:lnTo>
                    <a:pt x="93" y="114"/>
                  </a:lnTo>
                  <a:lnTo>
                    <a:pt x="119" y="98"/>
                  </a:lnTo>
                  <a:lnTo>
                    <a:pt x="147" y="85"/>
                  </a:lnTo>
                  <a:lnTo>
                    <a:pt x="173" y="103"/>
                  </a:lnTo>
                  <a:lnTo>
                    <a:pt x="202" y="94"/>
                  </a:lnTo>
                  <a:lnTo>
                    <a:pt x="228" y="106"/>
                  </a:lnTo>
                  <a:lnTo>
                    <a:pt x="256" y="114"/>
                  </a:lnTo>
                  <a:lnTo>
                    <a:pt x="282" y="127"/>
                  </a:lnTo>
                  <a:lnTo>
                    <a:pt x="305" y="153"/>
                  </a:lnTo>
                  <a:lnTo>
                    <a:pt x="329" y="179"/>
                  </a:lnTo>
                  <a:lnTo>
                    <a:pt x="354" y="202"/>
                  </a:lnTo>
                  <a:lnTo>
                    <a:pt x="383" y="218"/>
                  </a:lnTo>
                  <a:lnTo>
                    <a:pt x="411" y="225"/>
                  </a:lnTo>
                  <a:lnTo>
                    <a:pt x="437" y="223"/>
                  </a:lnTo>
                  <a:lnTo>
                    <a:pt x="463" y="239"/>
                  </a:lnTo>
                  <a:lnTo>
                    <a:pt x="491" y="241"/>
                  </a:lnTo>
                  <a:lnTo>
                    <a:pt x="517" y="241"/>
                  </a:lnTo>
                  <a:lnTo>
                    <a:pt x="546" y="244"/>
                  </a:lnTo>
                  <a:lnTo>
                    <a:pt x="571" y="241"/>
                  </a:lnTo>
                  <a:lnTo>
                    <a:pt x="600" y="230"/>
                  </a:lnTo>
                  <a:lnTo>
                    <a:pt x="626" y="220"/>
                  </a:lnTo>
                  <a:lnTo>
                    <a:pt x="652" y="225"/>
                  </a:lnTo>
                  <a:lnTo>
                    <a:pt x="680" y="223"/>
                  </a:lnTo>
                  <a:lnTo>
                    <a:pt x="708" y="223"/>
                  </a:lnTo>
                  <a:lnTo>
                    <a:pt x="735" y="234"/>
                  </a:lnTo>
                  <a:lnTo>
                    <a:pt x="755" y="259"/>
                  </a:lnTo>
                  <a:lnTo>
                    <a:pt x="781" y="262"/>
                  </a:lnTo>
                  <a:lnTo>
                    <a:pt x="807" y="251"/>
                  </a:lnTo>
                  <a:lnTo>
                    <a:pt x="832" y="244"/>
                  </a:lnTo>
                  <a:lnTo>
                    <a:pt x="861" y="230"/>
                  </a:lnTo>
                  <a:lnTo>
                    <a:pt x="869" y="228"/>
                  </a:lnTo>
                  <a:lnTo>
                    <a:pt x="894" y="246"/>
                  </a:lnTo>
                  <a:lnTo>
                    <a:pt x="913" y="274"/>
                  </a:lnTo>
                  <a:lnTo>
                    <a:pt x="938" y="301"/>
                  </a:lnTo>
                  <a:lnTo>
                    <a:pt x="965" y="319"/>
                  </a:lnTo>
                  <a:lnTo>
                    <a:pt x="993" y="345"/>
                  </a:lnTo>
                  <a:lnTo>
                    <a:pt x="1019" y="361"/>
                  </a:lnTo>
                  <a:lnTo>
                    <a:pt x="1032" y="389"/>
                  </a:lnTo>
                  <a:lnTo>
                    <a:pt x="1037" y="414"/>
                  </a:lnTo>
                  <a:lnTo>
                    <a:pt x="1044" y="442"/>
                  </a:lnTo>
                  <a:lnTo>
                    <a:pt x="1044" y="469"/>
                  </a:lnTo>
                  <a:lnTo>
                    <a:pt x="1073" y="477"/>
                  </a:lnTo>
                  <a:lnTo>
                    <a:pt x="1099" y="487"/>
                  </a:lnTo>
                  <a:lnTo>
                    <a:pt x="1125" y="505"/>
                  </a:lnTo>
                  <a:lnTo>
                    <a:pt x="1147" y="533"/>
                  </a:lnTo>
                  <a:lnTo>
                    <a:pt x="1138" y="550"/>
                  </a:lnTo>
                  <a:lnTo>
                    <a:pt x="1096" y="580"/>
                  </a:lnTo>
                  <a:lnTo>
                    <a:pt x="1077" y="592"/>
                  </a:lnTo>
                  <a:lnTo>
                    <a:pt x="1073" y="595"/>
                  </a:lnTo>
                  <a:lnTo>
                    <a:pt x="1070" y="600"/>
                  </a:lnTo>
                  <a:lnTo>
                    <a:pt x="1065" y="608"/>
                  </a:lnTo>
                  <a:lnTo>
                    <a:pt x="1059" y="621"/>
                  </a:lnTo>
                  <a:lnTo>
                    <a:pt x="1052" y="636"/>
                  </a:lnTo>
                  <a:lnTo>
                    <a:pt x="1048" y="649"/>
                  </a:lnTo>
                  <a:lnTo>
                    <a:pt x="1044" y="662"/>
                  </a:lnTo>
                  <a:lnTo>
                    <a:pt x="1042" y="671"/>
                  </a:lnTo>
                  <a:lnTo>
                    <a:pt x="1039" y="681"/>
                  </a:lnTo>
                  <a:lnTo>
                    <a:pt x="1036" y="689"/>
                  </a:lnTo>
                  <a:lnTo>
                    <a:pt x="1032" y="698"/>
                  </a:lnTo>
                  <a:lnTo>
                    <a:pt x="1024" y="704"/>
                  </a:lnTo>
                  <a:lnTo>
                    <a:pt x="1007" y="718"/>
                  </a:lnTo>
                  <a:lnTo>
                    <a:pt x="988" y="733"/>
                  </a:lnTo>
                  <a:lnTo>
                    <a:pt x="985" y="739"/>
                  </a:lnTo>
                  <a:lnTo>
                    <a:pt x="980" y="743"/>
                  </a:lnTo>
                  <a:lnTo>
                    <a:pt x="978" y="748"/>
                  </a:lnTo>
                  <a:lnTo>
                    <a:pt x="976" y="753"/>
                  </a:lnTo>
                  <a:lnTo>
                    <a:pt x="975" y="760"/>
                  </a:lnTo>
                  <a:lnTo>
                    <a:pt x="975" y="767"/>
                  </a:lnTo>
                  <a:lnTo>
                    <a:pt x="976" y="773"/>
                  </a:lnTo>
                  <a:lnTo>
                    <a:pt x="978" y="782"/>
                  </a:lnTo>
                  <a:lnTo>
                    <a:pt x="991" y="812"/>
                  </a:lnTo>
                  <a:lnTo>
                    <a:pt x="1001" y="841"/>
                  </a:lnTo>
                  <a:lnTo>
                    <a:pt x="1006" y="855"/>
                  </a:lnTo>
                  <a:lnTo>
                    <a:pt x="1010" y="869"/>
                  </a:lnTo>
                  <a:lnTo>
                    <a:pt x="1012" y="883"/>
                  </a:lnTo>
                  <a:lnTo>
                    <a:pt x="1013" y="896"/>
                  </a:lnTo>
                  <a:lnTo>
                    <a:pt x="1012" y="918"/>
                  </a:lnTo>
                  <a:lnTo>
                    <a:pt x="1012" y="936"/>
                  </a:lnTo>
                  <a:lnTo>
                    <a:pt x="1013" y="946"/>
                  </a:lnTo>
                  <a:lnTo>
                    <a:pt x="1015" y="957"/>
                  </a:lnTo>
                  <a:lnTo>
                    <a:pt x="1019" y="971"/>
                  </a:lnTo>
                  <a:lnTo>
                    <a:pt x="1024" y="989"/>
                  </a:lnTo>
                  <a:lnTo>
                    <a:pt x="1029" y="997"/>
                  </a:lnTo>
                  <a:lnTo>
                    <a:pt x="1032" y="1005"/>
                  </a:lnTo>
                  <a:lnTo>
                    <a:pt x="1036" y="1012"/>
                  </a:lnTo>
                  <a:lnTo>
                    <a:pt x="1040" y="1017"/>
                  </a:lnTo>
                  <a:lnTo>
                    <a:pt x="1046" y="1025"/>
                  </a:lnTo>
                  <a:lnTo>
                    <a:pt x="1053" y="1033"/>
                  </a:lnTo>
                  <a:lnTo>
                    <a:pt x="1056" y="1037"/>
                  </a:lnTo>
                  <a:lnTo>
                    <a:pt x="1058" y="1041"/>
                  </a:lnTo>
                  <a:lnTo>
                    <a:pt x="1059" y="1046"/>
                  </a:lnTo>
                  <a:lnTo>
                    <a:pt x="1060" y="1052"/>
                  </a:lnTo>
                  <a:lnTo>
                    <a:pt x="1060" y="1059"/>
                  </a:lnTo>
                  <a:lnTo>
                    <a:pt x="1060" y="1066"/>
                  </a:lnTo>
                  <a:lnTo>
                    <a:pt x="1058" y="1076"/>
                  </a:lnTo>
                  <a:lnTo>
                    <a:pt x="1056" y="1087"/>
                  </a:lnTo>
                  <a:lnTo>
                    <a:pt x="1051" y="1115"/>
                  </a:lnTo>
                  <a:lnTo>
                    <a:pt x="1045" y="1145"/>
                  </a:lnTo>
                  <a:lnTo>
                    <a:pt x="1042" y="1178"/>
                  </a:lnTo>
                  <a:lnTo>
                    <a:pt x="1039" y="1209"/>
                  </a:lnTo>
                  <a:lnTo>
                    <a:pt x="1037" y="1237"/>
                  </a:lnTo>
                  <a:lnTo>
                    <a:pt x="1035" y="1261"/>
                  </a:lnTo>
                  <a:lnTo>
                    <a:pt x="1035" y="1276"/>
                  </a:lnTo>
                  <a:lnTo>
                    <a:pt x="1034" y="1282"/>
                  </a:lnTo>
                  <a:lnTo>
                    <a:pt x="1035" y="1288"/>
                  </a:lnTo>
                  <a:close/>
                  <a:moveTo>
                    <a:pt x="512" y="1248"/>
                  </a:moveTo>
                  <a:lnTo>
                    <a:pt x="507" y="1251"/>
                  </a:lnTo>
                  <a:lnTo>
                    <a:pt x="479" y="1253"/>
                  </a:lnTo>
                  <a:lnTo>
                    <a:pt x="452" y="1246"/>
                  </a:lnTo>
                  <a:lnTo>
                    <a:pt x="456" y="1237"/>
                  </a:lnTo>
                  <a:lnTo>
                    <a:pt x="429" y="1220"/>
                  </a:lnTo>
                  <a:lnTo>
                    <a:pt x="401" y="1204"/>
                  </a:lnTo>
                  <a:lnTo>
                    <a:pt x="375" y="1181"/>
                  </a:lnTo>
                  <a:lnTo>
                    <a:pt x="350" y="1168"/>
                  </a:lnTo>
                  <a:lnTo>
                    <a:pt x="320" y="1170"/>
                  </a:lnTo>
                  <a:lnTo>
                    <a:pt x="295" y="1150"/>
                  </a:lnTo>
                  <a:lnTo>
                    <a:pt x="269" y="1140"/>
                  </a:lnTo>
                  <a:lnTo>
                    <a:pt x="251" y="1114"/>
                  </a:lnTo>
                  <a:lnTo>
                    <a:pt x="235" y="1087"/>
                  </a:lnTo>
                  <a:lnTo>
                    <a:pt x="263" y="1077"/>
                  </a:lnTo>
                  <a:lnTo>
                    <a:pt x="272" y="1048"/>
                  </a:lnTo>
                  <a:lnTo>
                    <a:pt x="297" y="1052"/>
                  </a:lnTo>
                  <a:lnTo>
                    <a:pt x="308" y="1077"/>
                  </a:lnTo>
                  <a:lnTo>
                    <a:pt x="334" y="1096"/>
                  </a:lnTo>
                  <a:lnTo>
                    <a:pt x="359" y="1108"/>
                  </a:lnTo>
                  <a:lnTo>
                    <a:pt x="385" y="1119"/>
                  </a:lnTo>
                  <a:lnTo>
                    <a:pt x="383" y="1145"/>
                  </a:lnTo>
                  <a:lnTo>
                    <a:pt x="408" y="1147"/>
                  </a:lnTo>
                  <a:lnTo>
                    <a:pt x="437" y="1170"/>
                  </a:lnTo>
                  <a:lnTo>
                    <a:pt x="463" y="1186"/>
                  </a:lnTo>
                  <a:lnTo>
                    <a:pt x="475" y="1212"/>
                  </a:lnTo>
                  <a:lnTo>
                    <a:pt x="504" y="1220"/>
                  </a:lnTo>
                  <a:lnTo>
                    <a:pt x="512" y="1248"/>
                  </a:lnTo>
                  <a:close/>
                  <a:moveTo>
                    <a:pt x="576" y="1349"/>
                  </a:moveTo>
                  <a:lnTo>
                    <a:pt x="562" y="1354"/>
                  </a:lnTo>
                  <a:lnTo>
                    <a:pt x="564" y="1354"/>
                  </a:lnTo>
                  <a:lnTo>
                    <a:pt x="576" y="1349"/>
                  </a:lnTo>
                  <a:close/>
                  <a:moveTo>
                    <a:pt x="747" y="1359"/>
                  </a:moveTo>
                  <a:lnTo>
                    <a:pt x="721" y="1357"/>
                  </a:lnTo>
                  <a:lnTo>
                    <a:pt x="747" y="1354"/>
                  </a:lnTo>
                  <a:lnTo>
                    <a:pt x="747" y="1359"/>
                  </a:lnTo>
                  <a:close/>
                  <a:moveTo>
                    <a:pt x="815" y="1359"/>
                  </a:moveTo>
                  <a:lnTo>
                    <a:pt x="788" y="1341"/>
                  </a:lnTo>
                  <a:lnTo>
                    <a:pt x="765" y="1315"/>
                  </a:lnTo>
                  <a:lnTo>
                    <a:pt x="737" y="1305"/>
                  </a:lnTo>
                  <a:lnTo>
                    <a:pt x="765" y="1305"/>
                  </a:lnTo>
                  <a:lnTo>
                    <a:pt x="791" y="1297"/>
                  </a:lnTo>
                  <a:lnTo>
                    <a:pt x="809" y="1324"/>
                  </a:lnTo>
                  <a:lnTo>
                    <a:pt x="815" y="1352"/>
                  </a:lnTo>
                  <a:lnTo>
                    <a:pt x="815" y="1359"/>
                  </a:lnTo>
                  <a:close/>
                  <a:moveTo>
                    <a:pt x="34" y="68"/>
                  </a:moveTo>
                  <a:lnTo>
                    <a:pt x="5" y="76"/>
                  </a:lnTo>
                  <a:lnTo>
                    <a:pt x="0" y="50"/>
                  </a:lnTo>
                  <a:lnTo>
                    <a:pt x="26" y="65"/>
                  </a:lnTo>
                  <a:lnTo>
                    <a:pt x="34" y="68"/>
                  </a:lnTo>
                  <a:close/>
                  <a:moveTo>
                    <a:pt x="124" y="21"/>
                  </a:moveTo>
                  <a:lnTo>
                    <a:pt x="99" y="39"/>
                  </a:lnTo>
                  <a:lnTo>
                    <a:pt x="78" y="13"/>
                  </a:lnTo>
                  <a:lnTo>
                    <a:pt x="104" y="0"/>
                  </a:lnTo>
                  <a:lnTo>
                    <a:pt x="124" y="21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74" name="Freeform 42"/>
            <p:cNvSpPr>
              <a:spLocks/>
            </p:cNvSpPr>
            <p:nvPr/>
          </p:nvSpPr>
          <p:spPr bwMode="auto">
            <a:xfrm>
              <a:off x="1205269" y="3298026"/>
              <a:ext cx="5292" cy="3528"/>
            </a:xfrm>
            <a:custGeom>
              <a:avLst/>
              <a:gdLst>
                <a:gd name="T0" fmla="*/ 2147483647 w 7"/>
                <a:gd name="T1" fmla="*/ 0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0" y="2"/>
                  </a:lnTo>
                  <a:lnTo>
                    <a:pt x="2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3869282" y="1489256"/>
              <a:ext cx="1060468" cy="1454408"/>
            </a:xfrm>
            <a:custGeom>
              <a:avLst/>
              <a:gdLst>
                <a:gd name="T0" fmla="*/ 881 w 1804"/>
                <a:gd name="T1" fmla="*/ 2396 h 2473"/>
                <a:gd name="T2" fmla="*/ 905 w 1804"/>
                <a:gd name="T3" fmla="*/ 2244 h 2473"/>
                <a:gd name="T4" fmla="*/ 997 w 1804"/>
                <a:gd name="T5" fmla="*/ 2057 h 2473"/>
                <a:gd name="T6" fmla="*/ 1158 w 1804"/>
                <a:gd name="T7" fmla="*/ 2005 h 2473"/>
                <a:gd name="T8" fmla="*/ 1282 w 1804"/>
                <a:gd name="T9" fmla="*/ 1915 h 2473"/>
                <a:gd name="T10" fmla="*/ 1274 w 1804"/>
                <a:gd name="T11" fmla="*/ 1788 h 2473"/>
                <a:gd name="T12" fmla="*/ 1285 w 1804"/>
                <a:gd name="T13" fmla="*/ 1553 h 2473"/>
                <a:gd name="T14" fmla="*/ 1460 w 1804"/>
                <a:gd name="T15" fmla="*/ 1355 h 2473"/>
                <a:gd name="T16" fmla="*/ 1554 w 1804"/>
                <a:gd name="T17" fmla="*/ 1355 h 2473"/>
                <a:gd name="T18" fmla="*/ 1794 w 1804"/>
                <a:gd name="T19" fmla="*/ 1327 h 2473"/>
                <a:gd name="T20" fmla="*/ 1657 w 1804"/>
                <a:gd name="T21" fmla="*/ 1177 h 2473"/>
                <a:gd name="T22" fmla="*/ 1440 w 1804"/>
                <a:gd name="T23" fmla="*/ 1021 h 2473"/>
                <a:gd name="T24" fmla="*/ 1474 w 1804"/>
                <a:gd name="T25" fmla="*/ 823 h 2473"/>
                <a:gd name="T26" fmla="*/ 1345 w 1804"/>
                <a:gd name="T27" fmla="*/ 641 h 2473"/>
                <a:gd name="T28" fmla="*/ 1256 w 1804"/>
                <a:gd name="T29" fmla="*/ 553 h 2473"/>
                <a:gd name="T30" fmla="*/ 1142 w 1804"/>
                <a:gd name="T31" fmla="*/ 380 h 2473"/>
                <a:gd name="T32" fmla="*/ 1269 w 1804"/>
                <a:gd name="T33" fmla="*/ 330 h 2473"/>
                <a:gd name="T34" fmla="*/ 1311 w 1804"/>
                <a:gd name="T35" fmla="*/ 284 h 2473"/>
                <a:gd name="T36" fmla="*/ 1285 w 1804"/>
                <a:gd name="T37" fmla="*/ 203 h 2473"/>
                <a:gd name="T38" fmla="*/ 1106 w 1804"/>
                <a:gd name="T39" fmla="*/ 130 h 2473"/>
                <a:gd name="T40" fmla="*/ 866 w 1804"/>
                <a:gd name="T41" fmla="*/ 109 h 2473"/>
                <a:gd name="T42" fmla="*/ 661 w 1804"/>
                <a:gd name="T43" fmla="*/ 160 h 2473"/>
                <a:gd name="T44" fmla="*/ 597 w 1804"/>
                <a:gd name="T45" fmla="*/ 388 h 2473"/>
                <a:gd name="T46" fmla="*/ 540 w 1804"/>
                <a:gd name="T47" fmla="*/ 595 h 2473"/>
                <a:gd name="T48" fmla="*/ 470 w 1804"/>
                <a:gd name="T49" fmla="*/ 756 h 2473"/>
                <a:gd name="T50" fmla="*/ 321 w 1804"/>
                <a:gd name="T51" fmla="*/ 929 h 2473"/>
                <a:gd name="T52" fmla="*/ 258 w 1804"/>
                <a:gd name="T53" fmla="*/ 1076 h 2473"/>
                <a:gd name="T54" fmla="*/ 168 w 1804"/>
                <a:gd name="T55" fmla="*/ 1134 h 2473"/>
                <a:gd name="T56" fmla="*/ 44 w 1804"/>
                <a:gd name="T57" fmla="*/ 1262 h 2473"/>
                <a:gd name="T58" fmla="*/ 0 w 1804"/>
                <a:gd name="T59" fmla="*/ 1332 h 2473"/>
                <a:gd name="T60" fmla="*/ 24 w 1804"/>
                <a:gd name="T61" fmla="*/ 1423 h 2473"/>
                <a:gd name="T62" fmla="*/ 132 w 1804"/>
                <a:gd name="T63" fmla="*/ 1430 h 2473"/>
                <a:gd name="T64" fmla="*/ 229 w 1804"/>
                <a:gd name="T65" fmla="*/ 1440 h 2473"/>
                <a:gd name="T66" fmla="*/ 379 w 1804"/>
                <a:gd name="T67" fmla="*/ 1404 h 2473"/>
                <a:gd name="T68" fmla="*/ 419 w 1804"/>
                <a:gd name="T69" fmla="*/ 1445 h 2473"/>
                <a:gd name="T70" fmla="*/ 408 w 1804"/>
                <a:gd name="T71" fmla="*/ 1589 h 2473"/>
                <a:gd name="T72" fmla="*/ 391 w 1804"/>
                <a:gd name="T73" fmla="*/ 1699 h 2473"/>
                <a:gd name="T74" fmla="*/ 450 w 1804"/>
                <a:gd name="T75" fmla="*/ 1659 h 2473"/>
                <a:gd name="T76" fmla="*/ 485 w 1804"/>
                <a:gd name="T77" fmla="*/ 1668 h 2473"/>
                <a:gd name="T78" fmla="*/ 491 w 1804"/>
                <a:gd name="T79" fmla="*/ 1767 h 2473"/>
                <a:gd name="T80" fmla="*/ 513 w 1804"/>
                <a:gd name="T81" fmla="*/ 1851 h 2473"/>
                <a:gd name="T82" fmla="*/ 545 w 1804"/>
                <a:gd name="T83" fmla="*/ 1975 h 2473"/>
                <a:gd name="T84" fmla="*/ 623 w 1804"/>
                <a:gd name="T85" fmla="*/ 2023 h 2473"/>
                <a:gd name="T86" fmla="*/ 672 w 1804"/>
                <a:gd name="T87" fmla="*/ 2085 h 2473"/>
                <a:gd name="T88" fmla="*/ 741 w 1804"/>
                <a:gd name="T89" fmla="*/ 2157 h 2473"/>
                <a:gd name="T90" fmla="*/ 764 w 1804"/>
                <a:gd name="T91" fmla="*/ 2234 h 2473"/>
                <a:gd name="T92" fmla="*/ 735 w 1804"/>
                <a:gd name="T93" fmla="*/ 2291 h 2473"/>
                <a:gd name="T94" fmla="*/ 743 w 1804"/>
                <a:gd name="T95" fmla="*/ 2424 h 2473"/>
                <a:gd name="T96" fmla="*/ 839 w 1804"/>
                <a:gd name="T97" fmla="*/ 2461 h 2473"/>
                <a:gd name="T98" fmla="*/ 1412 w 1804"/>
                <a:gd name="T99" fmla="*/ 181 h 2473"/>
                <a:gd name="T100" fmla="*/ 1424 w 1804"/>
                <a:gd name="T101" fmla="*/ 222 h 2473"/>
                <a:gd name="T102" fmla="*/ 1654 w 1804"/>
                <a:gd name="T103" fmla="*/ 867 h 2473"/>
                <a:gd name="T104" fmla="*/ 1324 w 1804"/>
                <a:gd name="T105" fmla="*/ 448 h 2473"/>
                <a:gd name="T106" fmla="*/ 1251 w 1804"/>
                <a:gd name="T107" fmla="*/ 484 h 2473"/>
                <a:gd name="T108" fmla="*/ 1373 w 1804"/>
                <a:gd name="T109" fmla="*/ 293 h 2473"/>
                <a:gd name="T110" fmla="*/ 1315 w 1804"/>
                <a:gd name="T111" fmla="*/ 210 h 2473"/>
                <a:gd name="T112" fmla="*/ 1592 w 1804"/>
                <a:gd name="T113" fmla="*/ 15 h 2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04" h="2473">
                  <a:moveTo>
                    <a:pt x="953" y="2473"/>
                  </a:moveTo>
                  <a:lnTo>
                    <a:pt x="953" y="2472"/>
                  </a:lnTo>
                  <a:lnTo>
                    <a:pt x="956" y="2466"/>
                  </a:lnTo>
                  <a:lnTo>
                    <a:pt x="962" y="2438"/>
                  </a:lnTo>
                  <a:lnTo>
                    <a:pt x="935" y="2433"/>
                  </a:lnTo>
                  <a:lnTo>
                    <a:pt x="907" y="2433"/>
                  </a:lnTo>
                  <a:lnTo>
                    <a:pt x="881" y="2414"/>
                  </a:lnTo>
                  <a:lnTo>
                    <a:pt x="856" y="2419"/>
                  </a:lnTo>
                  <a:lnTo>
                    <a:pt x="881" y="2396"/>
                  </a:lnTo>
                  <a:lnTo>
                    <a:pt x="907" y="2380"/>
                  </a:lnTo>
                  <a:lnTo>
                    <a:pt x="907" y="2355"/>
                  </a:lnTo>
                  <a:lnTo>
                    <a:pt x="910" y="2329"/>
                  </a:lnTo>
                  <a:lnTo>
                    <a:pt x="900" y="2303"/>
                  </a:lnTo>
                  <a:lnTo>
                    <a:pt x="871" y="2285"/>
                  </a:lnTo>
                  <a:lnTo>
                    <a:pt x="845" y="2298"/>
                  </a:lnTo>
                  <a:lnTo>
                    <a:pt x="847" y="2269"/>
                  </a:lnTo>
                  <a:lnTo>
                    <a:pt x="877" y="2256"/>
                  </a:lnTo>
                  <a:lnTo>
                    <a:pt x="905" y="2244"/>
                  </a:lnTo>
                  <a:lnTo>
                    <a:pt x="930" y="2235"/>
                  </a:lnTo>
                  <a:lnTo>
                    <a:pt x="944" y="2210"/>
                  </a:lnTo>
                  <a:lnTo>
                    <a:pt x="935" y="2182"/>
                  </a:lnTo>
                  <a:lnTo>
                    <a:pt x="962" y="2161"/>
                  </a:lnTo>
                  <a:lnTo>
                    <a:pt x="990" y="2150"/>
                  </a:lnTo>
                  <a:lnTo>
                    <a:pt x="1016" y="2138"/>
                  </a:lnTo>
                  <a:lnTo>
                    <a:pt x="1018" y="2112"/>
                  </a:lnTo>
                  <a:lnTo>
                    <a:pt x="1011" y="2085"/>
                  </a:lnTo>
                  <a:lnTo>
                    <a:pt x="997" y="2057"/>
                  </a:lnTo>
                  <a:lnTo>
                    <a:pt x="1002" y="2032"/>
                  </a:lnTo>
                  <a:lnTo>
                    <a:pt x="1016" y="2057"/>
                  </a:lnTo>
                  <a:lnTo>
                    <a:pt x="1026" y="2083"/>
                  </a:lnTo>
                  <a:lnTo>
                    <a:pt x="1055" y="2106"/>
                  </a:lnTo>
                  <a:lnTo>
                    <a:pt x="1080" y="2099"/>
                  </a:lnTo>
                  <a:lnTo>
                    <a:pt x="1106" y="2083"/>
                  </a:lnTo>
                  <a:lnTo>
                    <a:pt x="1117" y="2057"/>
                  </a:lnTo>
                  <a:lnTo>
                    <a:pt x="1140" y="2032"/>
                  </a:lnTo>
                  <a:lnTo>
                    <a:pt x="1158" y="2005"/>
                  </a:lnTo>
                  <a:lnTo>
                    <a:pt x="1184" y="1984"/>
                  </a:lnTo>
                  <a:lnTo>
                    <a:pt x="1191" y="1956"/>
                  </a:lnTo>
                  <a:lnTo>
                    <a:pt x="1202" y="1943"/>
                  </a:lnTo>
                  <a:lnTo>
                    <a:pt x="1218" y="1969"/>
                  </a:lnTo>
                  <a:lnTo>
                    <a:pt x="1235" y="1956"/>
                  </a:lnTo>
                  <a:lnTo>
                    <a:pt x="1262" y="1949"/>
                  </a:lnTo>
                  <a:lnTo>
                    <a:pt x="1272" y="1943"/>
                  </a:lnTo>
                  <a:lnTo>
                    <a:pt x="1297" y="1940"/>
                  </a:lnTo>
                  <a:lnTo>
                    <a:pt x="1282" y="1915"/>
                  </a:lnTo>
                  <a:lnTo>
                    <a:pt x="1303" y="1887"/>
                  </a:lnTo>
                  <a:lnTo>
                    <a:pt x="1287" y="1873"/>
                  </a:lnTo>
                  <a:lnTo>
                    <a:pt x="1310" y="1848"/>
                  </a:lnTo>
                  <a:lnTo>
                    <a:pt x="1321" y="1820"/>
                  </a:lnTo>
                  <a:lnTo>
                    <a:pt x="1292" y="1820"/>
                  </a:lnTo>
                  <a:lnTo>
                    <a:pt x="1267" y="1837"/>
                  </a:lnTo>
                  <a:lnTo>
                    <a:pt x="1256" y="1843"/>
                  </a:lnTo>
                  <a:lnTo>
                    <a:pt x="1262" y="1814"/>
                  </a:lnTo>
                  <a:lnTo>
                    <a:pt x="1274" y="1788"/>
                  </a:lnTo>
                  <a:lnTo>
                    <a:pt x="1259" y="1762"/>
                  </a:lnTo>
                  <a:lnTo>
                    <a:pt x="1256" y="1733"/>
                  </a:lnTo>
                  <a:lnTo>
                    <a:pt x="1264" y="1707"/>
                  </a:lnTo>
                  <a:lnTo>
                    <a:pt x="1280" y="1682"/>
                  </a:lnTo>
                  <a:lnTo>
                    <a:pt x="1285" y="1659"/>
                  </a:lnTo>
                  <a:lnTo>
                    <a:pt x="1267" y="1633"/>
                  </a:lnTo>
                  <a:lnTo>
                    <a:pt x="1276" y="1604"/>
                  </a:lnTo>
                  <a:lnTo>
                    <a:pt x="1285" y="1578"/>
                  </a:lnTo>
                  <a:lnTo>
                    <a:pt x="1285" y="1553"/>
                  </a:lnTo>
                  <a:lnTo>
                    <a:pt x="1297" y="1523"/>
                  </a:lnTo>
                  <a:lnTo>
                    <a:pt x="1318" y="1498"/>
                  </a:lnTo>
                  <a:lnTo>
                    <a:pt x="1329" y="1472"/>
                  </a:lnTo>
                  <a:lnTo>
                    <a:pt x="1354" y="1415"/>
                  </a:lnTo>
                  <a:lnTo>
                    <a:pt x="1368" y="1389"/>
                  </a:lnTo>
                  <a:lnTo>
                    <a:pt x="1396" y="1369"/>
                  </a:lnTo>
                  <a:lnTo>
                    <a:pt x="1421" y="1364"/>
                  </a:lnTo>
                  <a:lnTo>
                    <a:pt x="1450" y="1382"/>
                  </a:lnTo>
                  <a:lnTo>
                    <a:pt x="1460" y="1355"/>
                  </a:lnTo>
                  <a:lnTo>
                    <a:pt x="1448" y="1327"/>
                  </a:lnTo>
                  <a:lnTo>
                    <a:pt x="1432" y="1301"/>
                  </a:lnTo>
                  <a:lnTo>
                    <a:pt x="1414" y="1272"/>
                  </a:lnTo>
                  <a:lnTo>
                    <a:pt x="1440" y="1276"/>
                  </a:lnTo>
                  <a:lnTo>
                    <a:pt x="1458" y="1301"/>
                  </a:lnTo>
                  <a:lnTo>
                    <a:pt x="1474" y="1330"/>
                  </a:lnTo>
                  <a:lnTo>
                    <a:pt x="1499" y="1345"/>
                  </a:lnTo>
                  <a:lnTo>
                    <a:pt x="1527" y="1350"/>
                  </a:lnTo>
                  <a:lnTo>
                    <a:pt x="1554" y="1355"/>
                  </a:lnTo>
                  <a:lnTo>
                    <a:pt x="1580" y="1373"/>
                  </a:lnTo>
                  <a:lnTo>
                    <a:pt x="1608" y="1361"/>
                  </a:lnTo>
                  <a:lnTo>
                    <a:pt x="1633" y="1366"/>
                  </a:lnTo>
                  <a:lnTo>
                    <a:pt x="1660" y="1371"/>
                  </a:lnTo>
                  <a:lnTo>
                    <a:pt x="1688" y="1361"/>
                  </a:lnTo>
                  <a:lnTo>
                    <a:pt x="1714" y="1369"/>
                  </a:lnTo>
                  <a:lnTo>
                    <a:pt x="1742" y="1371"/>
                  </a:lnTo>
                  <a:lnTo>
                    <a:pt x="1769" y="1348"/>
                  </a:lnTo>
                  <a:lnTo>
                    <a:pt x="1794" y="1327"/>
                  </a:lnTo>
                  <a:lnTo>
                    <a:pt x="1804" y="1301"/>
                  </a:lnTo>
                  <a:lnTo>
                    <a:pt x="1804" y="1299"/>
                  </a:lnTo>
                  <a:lnTo>
                    <a:pt x="1802" y="1288"/>
                  </a:lnTo>
                  <a:lnTo>
                    <a:pt x="1776" y="1281"/>
                  </a:lnTo>
                  <a:lnTo>
                    <a:pt x="1748" y="1272"/>
                  </a:lnTo>
                  <a:lnTo>
                    <a:pt x="1721" y="1249"/>
                  </a:lnTo>
                  <a:lnTo>
                    <a:pt x="1711" y="1221"/>
                  </a:lnTo>
                  <a:lnTo>
                    <a:pt x="1683" y="1200"/>
                  </a:lnTo>
                  <a:lnTo>
                    <a:pt x="1657" y="1177"/>
                  </a:lnTo>
                  <a:lnTo>
                    <a:pt x="1629" y="1172"/>
                  </a:lnTo>
                  <a:lnTo>
                    <a:pt x="1603" y="1149"/>
                  </a:lnTo>
                  <a:lnTo>
                    <a:pt x="1587" y="1122"/>
                  </a:lnTo>
                  <a:lnTo>
                    <a:pt x="1561" y="1113"/>
                  </a:lnTo>
                  <a:lnTo>
                    <a:pt x="1533" y="1097"/>
                  </a:lnTo>
                  <a:lnTo>
                    <a:pt x="1507" y="1079"/>
                  </a:lnTo>
                  <a:lnTo>
                    <a:pt x="1481" y="1058"/>
                  </a:lnTo>
                  <a:lnTo>
                    <a:pt x="1469" y="1030"/>
                  </a:lnTo>
                  <a:lnTo>
                    <a:pt x="1440" y="1021"/>
                  </a:lnTo>
                  <a:lnTo>
                    <a:pt x="1414" y="998"/>
                  </a:lnTo>
                  <a:lnTo>
                    <a:pt x="1407" y="970"/>
                  </a:lnTo>
                  <a:lnTo>
                    <a:pt x="1380" y="947"/>
                  </a:lnTo>
                  <a:lnTo>
                    <a:pt x="1409" y="938"/>
                  </a:lnTo>
                  <a:lnTo>
                    <a:pt x="1424" y="913"/>
                  </a:lnTo>
                  <a:lnTo>
                    <a:pt x="1440" y="887"/>
                  </a:lnTo>
                  <a:lnTo>
                    <a:pt x="1469" y="877"/>
                  </a:lnTo>
                  <a:lnTo>
                    <a:pt x="1486" y="851"/>
                  </a:lnTo>
                  <a:lnTo>
                    <a:pt x="1474" y="823"/>
                  </a:lnTo>
                  <a:lnTo>
                    <a:pt x="1453" y="797"/>
                  </a:lnTo>
                  <a:lnTo>
                    <a:pt x="1424" y="774"/>
                  </a:lnTo>
                  <a:lnTo>
                    <a:pt x="1398" y="747"/>
                  </a:lnTo>
                  <a:lnTo>
                    <a:pt x="1382" y="721"/>
                  </a:lnTo>
                  <a:lnTo>
                    <a:pt x="1380" y="696"/>
                  </a:lnTo>
                  <a:lnTo>
                    <a:pt x="1352" y="673"/>
                  </a:lnTo>
                  <a:lnTo>
                    <a:pt x="1326" y="668"/>
                  </a:lnTo>
                  <a:lnTo>
                    <a:pt x="1318" y="657"/>
                  </a:lnTo>
                  <a:lnTo>
                    <a:pt x="1345" y="641"/>
                  </a:lnTo>
                  <a:lnTo>
                    <a:pt x="1318" y="631"/>
                  </a:lnTo>
                  <a:lnTo>
                    <a:pt x="1290" y="629"/>
                  </a:lnTo>
                  <a:lnTo>
                    <a:pt x="1318" y="620"/>
                  </a:lnTo>
                  <a:lnTo>
                    <a:pt x="1301" y="608"/>
                  </a:lnTo>
                  <a:lnTo>
                    <a:pt x="1308" y="597"/>
                  </a:lnTo>
                  <a:lnTo>
                    <a:pt x="1321" y="574"/>
                  </a:lnTo>
                  <a:lnTo>
                    <a:pt x="1292" y="564"/>
                  </a:lnTo>
                  <a:lnTo>
                    <a:pt x="1269" y="564"/>
                  </a:lnTo>
                  <a:lnTo>
                    <a:pt x="1256" y="553"/>
                  </a:lnTo>
                  <a:lnTo>
                    <a:pt x="1230" y="535"/>
                  </a:lnTo>
                  <a:lnTo>
                    <a:pt x="1202" y="525"/>
                  </a:lnTo>
                  <a:lnTo>
                    <a:pt x="1228" y="496"/>
                  </a:lnTo>
                  <a:lnTo>
                    <a:pt x="1253" y="470"/>
                  </a:lnTo>
                  <a:lnTo>
                    <a:pt x="1243" y="445"/>
                  </a:lnTo>
                  <a:lnTo>
                    <a:pt x="1218" y="442"/>
                  </a:lnTo>
                  <a:lnTo>
                    <a:pt x="1189" y="429"/>
                  </a:lnTo>
                  <a:lnTo>
                    <a:pt x="1170" y="401"/>
                  </a:lnTo>
                  <a:lnTo>
                    <a:pt x="1142" y="380"/>
                  </a:lnTo>
                  <a:lnTo>
                    <a:pt x="1117" y="387"/>
                  </a:lnTo>
                  <a:lnTo>
                    <a:pt x="1145" y="372"/>
                  </a:lnTo>
                  <a:lnTo>
                    <a:pt x="1174" y="372"/>
                  </a:lnTo>
                  <a:lnTo>
                    <a:pt x="1200" y="378"/>
                  </a:lnTo>
                  <a:lnTo>
                    <a:pt x="1228" y="375"/>
                  </a:lnTo>
                  <a:lnTo>
                    <a:pt x="1256" y="375"/>
                  </a:lnTo>
                  <a:lnTo>
                    <a:pt x="1282" y="383"/>
                  </a:lnTo>
                  <a:lnTo>
                    <a:pt x="1276" y="357"/>
                  </a:lnTo>
                  <a:lnTo>
                    <a:pt x="1269" y="330"/>
                  </a:lnTo>
                  <a:lnTo>
                    <a:pt x="1287" y="357"/>
                  </a:lnTo>
                  <a:lnTo>
                    <a:pt x="1313" y="375"/>
                  </a:lnTo>
                  <a:lnTo>
                    <a:pt x="1339" y="378"/>
                  </a:lnTo>
                  <a:lnTo>
                    <a:pt x="1365" y="375"/>
                  </a:lnTo>
                  <a:lnTo>
                    <a:pt x="1393" y="348"/>
                  </a:lnTo>
                  <a:lnTo>
                    <a:pt x="1365" y="336"/>
                  </a:lnTo>
                  <a:lnTo>
                    <a:pt x="1362" y="309"/>
                  </a:lnTo>
                  <a:lnTo>
                    <a:pt x="1336" y="289"/>
                  </a:lnTo>
                  <a:lnTo>
                    <a:pt x="1311" y="284"/>
                  </a:lnTo>
                  <a:lnTo>
                    <a:pt x="1285" y="271"/>
                  </a:lnTo>
                  <a:lnTo>
                    <a:pt x="1311" y="276"/>
                  </a:lnTo>
                  <a:lnTo>
                    <a:pt x="1336" y="281"/>
                  </a:lnTo>
                  <a:lnTo>
                    <a:pt x="1311" y="256"/>
                  </a:lnTo>
                  <a:lnTo>
                    <a:pt x="1285" y="230"/>
                  </a:lnTo>
                  <a:lnTo>
                    <a:pt x="1256" y="214"/>
                  </a:lnTo>
                  <a:lnTo>
                    <a:pt x="1230" y="189"/>
                  </a:lnTo>
                  <a:lnTo>
                    <a:pt x="1259" y="198"/>
                  </a:lnTo>
                  <a:lnTo>
                    <a:pt x="1285" y="203"/>
                  </a:lnTo>
                  <a:lnTo>
                    <a:pt x="1308" y="186"/>
                  </a:lnTo>
                  <a:lnTo>
                    <a:pt x="1297" y="181"/>
                  </a:lnTo>
                  <a:lnTo>
                    <a:pt x="1269" y="181"/>
                  </a:lnTo>
                  <a:lnTo>
                    <a:pt x="1244" y="158"/>
                  </a:lnTo>
                  <a:lnTo>
                    <a:pt x="1218" y="142"/>
                  </a:lnTo>
                  <a:lnTo>
                    <a:pt x="1189" y="121"/>
                  </a:lnTo>
                  <a:lnTo>
                    <a:pt x="1163" y="127"/>
                  </a:lnTo>
                  <a:lnTo>
                    <a:pt x="1135" y="127"/>
                  </a:lnTo>
                  <a:lnTo>
                    <a:pt x="1106" y="130"/>
                  </a:lnTo>
                  <a:lnTo>
                    <a:pt x="1080" y="121"/>
                  </a:lnTo>
                  <a:lnTo>
                    <a:pt x="1052" y="127"/>
                  </a:lnTo>
                  <a:lnTo>
                    <a:pt x="1027" y="127"/>
                  </a:lnTo>
                  <a:lnTo>
                    <a:pt x="1000" y="125"/>
                  </a:lnTo>
                  <a:lnTo>
                    <a:pt x="967" y="127"/>
                  </a:lnTo>
                  <a:lnTo>
                    <a:pt x="941" y="106"/>
                  </a:lnTo>
                  <a:lnTo>
                    <a:pt x="921" y="132"/>
                  </a:lnTo>
                  <a:lnTo>
                    <a:pt x="894" y="132"/>
                  </a:lnTo>
                  <a:lnTo>
                    <a:pt x="866" y="109"/>
                  </a:lnTo>
                  <a:lnTo>
                    <a:pt x="840" y="119"/>
                  </a:lnTo>
                  <a:lnTo>
                    <a:pt x="815" y="114"/>
                  </a:lnTo>
                  <a:lnTo>
                    <a:pt x="785" y="130"/>
                  </a:lnTo>
                  <a:lnTo>
                    <a:pt x="757" y="148"/>
                  </a:lnTo>
                  <a:lnTo>
                    <a:pt x="732" y="121"/>
                  </a:lnTo>
                  <a:lnTo>
                    <a:pt x="703" y="106"/>
                  </a:lnTo>
                  <a:lnTo>
                    <a:pt x="695" y="119"/>
                  </a:lnTo>
                  <a:lnTo>
                    <a:pt x="693" y="145"/>
                  </a:lnTo>
                  <a:lnTo>
                    <a:pt x="661" y="160"/>
                  </a:lnTo>
                  <a:lnTo>
                    <a:pt x="636" y="181"/>
                  </a:lnTo>
                  <a:lnTo>
                    <a:pt x="628" y="208"/>
                  </a:lnTo>
                  <a:lnTo>
                    <a:pt x="623" y="236"/>
                  </a:lnTo>
                  <a:lnTo>
                    <a:pt x="610" y="261"/>
                  </a:lnTo>
                  <a:lnTo>
                    <a:pt x="603" y="287"/>
                  </a:lnTo>
                  <a:lnTo>
                    <a:pt x="610" y="305"/>
                  </a:lnTo>
                  <a:lnTo>
                    <a:pt x="605" y="334"/>
                  </a:lnTo>
                  <a:lnTo>
                    <a:pt x="597" y="360"/>
                  </a:lnTo>
                  <a:lnTo>
                    <a:pt x="597" y="388"/>
                  </a:lnTo>
                  <a:lnTo>
                    <a:pt x="605" y="402"/>
                  </a:lnTo>
                  <a:lnTo>
                    <a:pt x="607" y="430"/>
                  </a:lnTo>
                  <a:lnTo>
                    <a:pt x="594" y="455"/>
                  </a:lnTo>
                  <a:lnTo>
                    <a:pt x="584" y="482"/>
                  </a:lnTo>
                  <a:lnTo>
                    <a:pt x="578" y="508"/>
                  </a:lnTo>
                  <a:lnTo>
                    <a:pt x="578" y="536"/>
                  </a:lnTo>
                  <a:lnTo>
                    <a:pt x="571" y="561"/>
                  </a:lnTo>
                  <a:lnTo>
                    <a:pt x="569" y="588"/>
                  </a:lnTo>
                  <a:lnTo>
                    <a:pt x="540" y="595"/>
                  </a:lnTo>
                  <a:lnTo>
                    <a:pt x="514" y="600"/>
                  </a:lnTo>
                  <a:lnTo>
                    <a:pt x="488" y="588"/>
                  </a:lnTo>
                  <a:lnTo>
                    <a:pt x="470" y="614"/>
                  </a:lnTo>
                  <a:lnTo>
                    <a:pt x="444" y="632"/>
                  </a:lnTo>
                  <a:lnTo>
                    <a:pt x="426" y="658"/>
                  </a:lnTo>
                  <a:lnTo>
                    <a:pt x="439" y="686"/>
                  </a:lnTo>
                  <a:lnTo>
                    <a:pt x="428" y="712"/>
                  </a:lnTo>
                  <a:lnTo>
                    <a:pt x="447" y="738"/>
                  </a:lnTo>
                  <a:lnTo>
                    <a:pt x="470" y="756"/>
                  </a:lnTo>
                  <a:lnTo>
                    <a:pt x="458" y="782"/>
                  </a:lnTo>
                  <a:lnTo>
                    <a:pt x="431" y="798"/>
                  </a:lnTo>
                  <a:lnTo>
                    <a:pt x="405" y="821"/>
                  </a:lnTo>
                  <a:lnTo>
                    <a:pt x="377" y="826"/>
                  </a:lnTo>
                  <a:lnTo>
                    <a:pt x="372" y="852"/>
                  </a:lnTo>
                  <a:lnTo>
                    <a:pt x="346" y="857"/>
                  </a:lnTo>
                  <a:lnTo>
                    <a:pt x="320" y="883"/>
                  </a:lnTo>
                  <a:lnTo>
                    <a:pt x="320" y="909"/>
                  </a:lnTo>
                  <a:lnTo>
                    <a:pt x="321" y="929"/>
                  </a:lnTo>
                  <a:lnTo>
                    <a:pt x="320" y="935"/>
                  </a:lnTo>
                  <a:lnTo>
                    <a:pt x="318" y="949"/>
                  </a:lnTo>
                  <a:lnTo>
                    <a:pt x="314" y="966"/>
                  </a:lnTo>
                  <a:lnTo>
                    <a:pt x="308" y="986"/>
                  </a:lnTo>
                  <a:lnTo>
                    <a:pt x="301" y="1001"/>
                  </a:lnTo>
                  <a:lnTo>
                    <a:pt x="294" y="1015"/>
                  </a:lnTo>
                  <a:lnTo>
                    <a:pt x="283" y="1032"/>
                  </a:lnTo>
                  <a:lnTo>
                    <a:pt x="267" y="1059"/>
                  </a:lnTo>
                  <a:lnTo>
                    <a:pt x="258" y="1076"/>
                  </a:lnTo>
                  <a:lnTo>
                    <a:pt x="252" y="1090"/>
                  </a:lnTo>
                  <a:lnTo>
                    <a:pt x="249" y="1101"/>
                  </a:lnTo>
                  <a:lnTo>
                    <a:pt x="248" y="1110"/>
                  </a:lnTo>
                  <a:lnTo>
                    <a:pt x="249" y="1122"/>
                  </a:lnTo>
                  <a:lnTo>
                    <a:pt x="251" y="1126"/>
                  </a:lnTo>
                  <a:lnTo>
                    <a:pt x="248" y="1150"/>
                  </a:lnTo>
                  <a:lnTo>
                    <a:pt x="222" y="1146"/>
                  </a:lnTo>
                  <a:lnTo>
                    <a:pt x="196" y="1129"/>
                  </a:lnTo>
                  <a:lnTo>
                    <a:pt x="168" y="1134"/>
                  </a:lnTo>
                  <a:lnTo>
                    <a:pt x="142" y="1144"/>
                  </a:lnTo>
                  <a:lnTo>
                    <a:pt x="116" y="1157"/>
                  </a:lnTo>
                  <a:lnTo>
                    <a:pt x="106" y="1155"/>
                  </a:lnTo>
                  <a:lnTo>
                    <a:pt x="80" y="1141"/>
                  </a:lnTo>
                  <a:lnTo>
                    <a:pt x="104" y="1154"/>
                  </a:lnTo>
                  <a:lnTo>
                    <a:pt x="101" y="1234"/>
                  </a:lnTo>
                  <a:lnTo>
                    <a:pt x="88" y="1239"/>
                  </a:lnTo>
                  <a:lnTo>
                    <a:pt x="60" y="1252"/>
                  </a:lnTo>
                  <a:lnTo>
                    <a:pt x="44" y="1262"/>
                  </a:lnTo>
                  <a:lnTo>
                    <a:pt x="28" y="1272"/>
                  </a:lnTo>
                  <a:lnTo>
                    <a:pt x="22" y="1279"/>
                  </a:lnTo>
                  <a:lnTo>
                    <a:pt x="17" y="1284"/>
                  </a:lnTo>
                  <a:lnTo>
                    <a:pt x="13" y="1290"/>
                  </a:lnTo>
                  <a:lnTo>
                    <a:pt x="10" y="1298"/>
                  </a:lnTo>
                  <a:lnTo>
                    <a:pt x="5" y="1309"/>
                  </a:lnTo>
                  <a:lnTo>
                    <a:pt x="2" y="1319"/>
                  </a:lnTo>
                  <a:lnTo>
                    <a:pt x="0" y="1326"/>
                  </a:lnTo>
                  <a:lnTo>
                    <a:pt x="0" y="1332"/>
                  </a:lnTo>
                  <a:lnTo>
                    <a:pt x="0" y="1338"/>
                  </a:lnTo>
                  <a:lnTo>
                    <a:pt x="2" y="1344"/>
                  </a:lnTo>
                  <a:lnTo>
                    <a:pt x="5" y="1350"/>
                  </a:lnTo>
                  <a:lnTo>
                    <a:pt x="10" y="1357"/>
                  </a:lnTo>
                  <a:lnTo>
                    <a:pt x="14" y="1367"/>
                  </a:lnTo>
                  <a:lnTo>
                    <a:pt x="17" y="1378"/>
                  </a:lnTo>
                  <a:lnTo>
                    <a:pt x="20" y="1390"/>
                  </a:lnTo>
                  <a:lnTo>
                    <a:pt x="22" y="1403"/>
                  </a:lnTo>
                  <a:lnTo>
                    <a:pt x="24" y="1423"/>
                  </a:lnTo>
                  <a:lnTo>
                    <a:pt x="25" y="1431"/>
                  </a:lnTo>
                  <a:lnTo>
                    <a:pt x="37" y="1430"/>
                  </a:lnTo>
                  <a:lnTo>
                    <a:pt x="52" y="1431"/>
                  </a:lnTo>
                  <a:lnTo>
                    <a:pt x="62" y="1429"/>
                  </a:lnTo>
                  <a:lnTo>
                    <a:pt x="75" y="1428"/>
                  </a:lnTo>
                  <a:lnTo>
                    <a:pt x="88" y="1427"/>
                  </a:lnTo>
                  <a:lnTo>
                    <a:pt x="102" y="1427"/>
                  </a:lnTo>
                  <a:lnTo>
                    <a:pt x="117" y="1428"/>
                  </a:lnTo>
                  <a:lnTo>
                    <a:pt x="132" y="1430"/>
                  </a:lnTo>
                  <a:lnTo>
                    <a:pt x="147" y="1433"/>
                  </a:lnTo>
                  <a:lnTo>
                    <a:pt x="162" y="1437"/>
                  </a:lnTo>
                  <a:lnTo>
                    <a:pt x="173" y="1440"/>
                  </a:lnTo>
                  <a:lnTo>
                    <a:pt x="184" y="1443"/>
                  </a:lnTo>
                  <a:lnTo>
                    <a:pt x="193" y="1445"/>
                  </a:lnTo>
                  <a:lnTo>
                    <a:pt x="203" y="1445"/>
                  </a:lnTo>
                  <a:lnTo>
                    <a:pt x="211" y="1444"/>
                  </a:lnTo>
                  <a:lnTo>
                    <a:pt x="220" y="1443"/>
                  </a:lnTo>
                  <a:lnTo>
                    <a:pt x="229" y="1440"/>
                  </a:lnTo>
                  <a:lnTo>
                    <a:pt x="238" y="1437"/>
                  </a:lnTo>
                  <a:lnTo>
                    <a:pt x="258" y="1431"/>
                  </a:lnTo>
                  <a:lnTo>
                    <a:pt x="281" y="1423"/>
                  </a:lnTo>
                  <a:lnTo>
                    <a:pt x="311" y="1414"/>
                  </a:lnTo>
                  <a:lnTo>
                    <a:pt x="345" y="1405"/>
                  </a:lnTo>
                  <a:lnTo>
                    <a:pt x="355" y="1404"/>
                  </a:lnTo>
                  <a:lnTo>
                    <a:pt x="364" y="1403"/>
                  </a:lnTo>
                  <a:lnTo>
                    <a:pt x="372" y="1403"/>
                  </a:lnTo>
                  <a:lnTo>
                    <a:pt x="379" y="1404"/>
                  </a:lnTo>
                  <a:lnTo>
                    <a:pt x="386" y="1406"/>
                  </a:lnTo>
                  <a:lnTo>
                    <a:pt x="393" y="1408"/>
                  </a:lnTo>
                  <a:lnTo>
                    <a:pt x="398" y="1411"/>
                  </a:lnTo>
                  <a:lnTo>
                    <a:pt x="403" y="1415"/>
                  </a:lnTo>
                  <a:lnTo>
                    <a:pt x="407" y="1421"/>
                  </a:lnTo>
                  <a:lnTo>
                    <a:pt x="410" y="1426"/>
                  </a:lnTo>
                  <a:lnTo>
                    <a:pt x="415" y="1431"/>
                  </a:lnTo>
                  <a:lnTo>
                    <a:pt x="417" y="1437"/>
                  </a:lnTo>
                  <a:lnTo>
                    <a:pt x="419" y="1445"/>
                  </a:lnTo>
                  <a:lnTo>
                    <a:pt x="421" y="1452"/>
                  </a:lnTo>
                  <a:lnTo>
                    <a:pt x="422" y="1459"/>
                  </a:lnTo>
                  <a:lnTo>
                    <a:pt x="423" y="1468"/>
                  </a:lnTo>
                  <a:lnTo>
                    <a:pt x="424" y="1486"/>
                  </a:lnTo>
                  <a:lnTo>
                    <a:pt x="423" y="1505"/>
                  </a:lnTo>
                  <a:lnTo>
                    <a:pt x="421" y="1524"/>
                  </a:lnTo>
                  <a:lnTo>
                    <a:pt x="418" y="1545"/>
                  </a:lnTo>
                  <a:lnTo>
                    <a:pt x="414" y="1566"/>
                  </a:lnTo>
                  <a:lnTo>
                    <a:pt x="408" y="1589"/>
                  </a:lnTo>
                  <a:lnTo>
                    <a:pt x="403" y="1610"/>
                  </a:lnTo>
                  <a:lnTo>
                    <a:pt x="397" y="1631"/>
                  </a:lnTo>
                  <a:lnTo>
                    <a:pt x="391" y="1649"/>
                  </a:lnTo>
                  <a:lnTo>
                    <a:pt x="387" y="1665"/>
                  </a:lnTo>
                  <a:lnTo>
                    <a:pt x="385" y="1678"/>
                  </a:lnTo>
                  <a:lnTo>
                    <a:pt x="385" y="1687"/>
                  </a:lnTo>
                  <a:lnTo>
                    <a:pt x="386" y="1694"/>
                  </a:lnTo>
                  <a:lnTo>
                    <a:pt x="389" y="1698"/>
                  </a:lnTo>
                  <a:lnTo>
                    <a:pt x="391" y="1699"/>
                  </a:lnTo>
                  <a:lnTo>
                    <a:pt x="393" y="1700"/>
                  </a:lnTo>
                  <a:lnTo>
                    <a:pt x="395" y="1700"/>
                  </a:lnTo>
                  <a:lnTo>
                    <a:pt x="397" y="1700"/>
                  </a:lnTo>
                  <a:lnTo>
                    <a:pt x="403" y="1698"/>
                  </a:lnTo>
                  <a:lnTo>
                    <a:pt x="408" y="1695"/>
                  </a:lnTo>
                  <a:lnTo>
                    <a:pt x="416" y="1690"/>
                  </a:lnTo>
                  <a:lnTo>
                    <a:pt x="422" y="1685"/>
                  </a:lnTo>
                  <a:lnTo>
                    <a:pt x="437" y="1673"/>
                  </a:lnTo>
                  <a:lnTo>
                    <a:pt x="450" y="1659"/>
                  </a:lnTo>
                  <a:lnTo>
                    <a:pt x="457" y="1654"/>
                  </a:lnTo>
                  <a:lnTo>
                    <a:pt x="463" y="1652"/>
                  </a:lnTo>
                  <a:lnTo>
                    <a:pt x="465" y="1650"/>
                  </a:lnTo>
                  <a:lnTo>
                    <a:pt x="468" y="1650"/>
                  </a:lnTo>
                  <a:lnTo>
                    <a:pt x="470" y="1652"/>
                  </a:lnTo>
                  <a:lnTo>
                    <a:pt x="473" y="1653"/>
                  </a:lnTo>
                  <a:lnTo>
                    <a:pt x="478" y="1656"/>
                  </a:lnTo>
                  <a:lnTo>
                    <a:pt x="482" y="1661"/>
                  </a:lnTo>
                  <a:lnTo>
                    <a:pt x="485" y="1668"/>
                  </a:lnTo>
                  <a:lnTo>
                    <a:pt x="488" y="1677"/>
                  </a:lnTo>
                  <a:lnTo>
                    <a:pt x="490" y="1686"/>
                  </a:lnTo>
                  <a:lnTo>
                    <a:pt x="492" y="1696"/>
                  </a:lnTo>
                  <a:lnTo>
                    <a:pt x="493" y="1707"/>
                  </a:lnTo>
                  <a:lnTo>
                    <a:pt x="494" y="1719"/>
                  </a:lnTo>
                  <a:lnTo>
                    <a:pt x="494" y="1730"/>
                  </a:lnTo>
                  <a:lnTo>
                    <a:pt x="494" y="1743"/>
                  </a:lnTo>
                  <a:lnTo>
                    <a:pt x="493" y="1756"/>
                  </a:lnTo>
                  <a:lnTo>
                    <a:pt x="491" y="1767"/>
                  </a:lnTo>
                  <a:lnTo>
                    <a:pt x="490" y="1779"/>
                  </a:lnTo>
                  <a:lnTo>
                    <a:pt x="490" y="1790"/>
                  </a:lnTo>
                  <a:lnTo>
                    <a:pt x="491" y="1800"/>
                  </a:lnTo>
                  <a:lnTo>
                    <a:pt x="493" y="1809"/>
                  </a:lnTo>
                  <a:lnTo>
                    <a:pt x="495" y="1819"/>
                  </a:lnTo>
                  <a:lnTo>
                    <a:pt x="499" y="1826"/>
                  </a:lnTo>
                  <a:lnTo>
                    <a:pt x="502" y="1833"/>
                  </a:lnTo>
                  <a:lnTo>
                    <a:pt x="506" y="1841"/>
                  </a:lnTo>
                  <a:lnTo>
                    <a:pt x="513" y="1851"/>
                  </a:lnTo>
                  <a:lnTo>
                    <a:pt x="520" y="1859"/>
                  </a:lnTo>
                  <a:lnTo>
                    <a:pt x="525" y="1864"/>
                  </a:lnTo>
                  <a:lnTo>
                    <a:pt x="527" y="1866"/>
                  </a:lnTo>
                  <a:lnTo>
                    <a:pt x="527" y="1872"/>
                  </a:lnTo>
                  <a:lnTo>
                    <a:pt x="529" y="1892"/>
                  </a:lnTo>
                  <a:lnTo>
                    <a:pt x="533" y="1920"/>
                  </a:lnTo>
                  <a:lnTo>
                    <a:pt x="540" y="1958"/>
                  </a:lnTo>
                  <a:lnTo>
                    <a:pt x="542" y="1968"/>
                  </a:lnTo>
                  <a:lnTo>
                    <a:pt x="545" y="1975"/>
                  </a:lnTo>
                  <a:lnTo>
                    <a:pt x="549" y="1982"/>
                  </a:lnTo>
                  <a:lnTo>
                    <a:pt x="554" y="1989"/>
                  </a:lnTo>
                  <a:lnTo>
                    <a:pt x="561" y="1994"/>
                  </a:lnTo>
                  <a:lnTo>
                    <a:pt x="568" y="1998"/>
                  </a:lnTo>
                  <a:lnTo>
                    <a:pt x="574" y="2002"/>
                  </a:lnTo>
                  <a:lnTo>
                    <a:pt x="583" y="2005"/>
                  </a:lnTo>
                  <a:lnTo>
                    <a:pt x="598" y="2013"/>
                  </a:lnTo>
                  <a:lnTo>
                    <a:pt x="614" y="2019"/>
                  </a:lnTo>
                  <a:lnTo>
                    <a:pt x="623" y="2023"/>
                  </a:lnTo>
                  <a:lnTo>
                    <a:pt x="630" y="2026"/>
                  </a:lnTo>
                  <a:lnTo>
                    <a:pt x="637" y="2032"/>
                  </a:lnTo>
                  <a:lnTo>
                    <a:pt x="645" y="2037"/>
                  </a:lnTo>
                  <a:lnTo>
                    <a:pt x="650" y="2043"/>
                  </a:lnTo>
                  <a:lnTo>
                    <a:pt x="655" y="2050"/>
                  </a:lnTo>
                  <a:lnTo>
                    <a:pt x="659" y="2056"/>
                  </a:lnTo>
                  <a:lnTo>
                    <a:pt x="663" y="2062"/>
                  </a:lnTo>
                  <a:lnTo>
                    <a:pt x="669" y="2075"/>
                  </a:lnTo>
                  <a:lnTo>
                    <a:pt x="672" y="2085"/>
                  </a:lnTo>
                  <a:lnTo>
                    <a:pt x="673" y="2103"/>
                  </a:lnTo>
                  <a:lnTo>
                    <a:pt x="673" y="2110"/>
                  </a:lnTo>
                  <a:lnTo>
                    <a:pt x="673" y="2112"/>
                  </a:lnTo>
                  <a:lnTo>
                    <a:pt x="679" y="2110"/>
                  </a:lnTo>
                  <a:lnTo>
                    <a:pt x="690" y="2118"/>
                  </a:lnTo>
                  <a:lnTo>
                    <a:pt x="703" y="2126"/>
                  </a:lnTo>
                  <a:lnTo>
                    <a:pt x="719" y="2137"/>
                  </a:lnTo>
                  <a:lnTo>
                    <a:pt x="734" y="2150"/>
                  </a:lnTo>
                  <a:lnTo>
                    <a:pt x="741" y="2157"/>
                  </a:lnTo>
                  <a:lnTo>
                    <a:pt x="748" y="2165"/>
                  </a:lnTo>
                  <a:lnTo>
                    <a:pt x="755" y="2172"/>
                  </a:lnTo>
                  <a:lnTo>
                    <a:pt x="760" y="2181"/>
                  </a:lnTo>
                  <a:lnTo>
                    <a:pt x="764" y="2189"/>
                  </a:lnTo>
                  <a:lnTo>
                    <a:pt x="766" y="2199"/>
                  </a:lnTo>
                  <a:lnTo>
                    <a:pt x="768" y="2208"/>
                  </a:lnTo>
                  <a:lnTo>
                    <a:pt x="768" y="2219"/>
                  </a:lnTo>
                  <a:lnTo>
                    <a:pt x="766" y="2227"/>
                  </a:lnTo>
                  <a:lnTo>
                    <a:pt x="764" y="2234"/>
                  </a:lnTo>
                  <a:lnTo>
                    <a:pt x="761" y="2241"/>
                  </a:lnTo>
                  <a:lnTo>
                    <a:pt x="758" y="2246"/>
                  </a:lnTo>
                  <a:lnTo>
                    <a:pt x="751" y="2253"/>
                  </a:lnTo>
                  <a:lnTo>
                    <a:pt x="743" y="2260"/>
                  </a:lnTo>
                  <a:lnTo>
                    <a:pt x="740" y="2264"/>
                  </a:lnTo>
                  <a:lnTo>
                    <a:pt x="738" y="2269"/>
                  </a:lnTo>
                  <a:lnTo>
                    <a:pt x="736" y="2274"/>
                  </a:lnTo>
                  <a:lnTo>
                    <a:pt x="735" y="2283"/>
                  </a:lnTo>
                  <a:lnTo>
                    <a:pt x="735" y="2291"/>
                  </a:lnTo>
                  <a:lnTo>
                    <a:pt x="736" y="2303"/>
                  </a:lnTo>
                  <a:lnTo>
                    <a:pt x="739" y="2316"/>
                  </a:lnTo>
                  <a:lnTo>
                    <a:pt x="742" y="2333"/>
                  </a:lnTo>
                  <a:lnTo>
                    <a:pt x="746" y="2350"/>
                  </a:lnTo>
                  <a:lnTo>
                    <a:pt x="748" y="2365"/>
                  </a:lnTo>
                  <a:lnTo>
                    <a:pt x="748" y="2378"/>
                  </a:lnTo>
                  <a:lnTo>
                    <a:pt x="747" y="2390"/>
                  </a:lnTo>
                  <a:lnTo>
                    <a:pt x="745" y="2410"/>
                  </a:lnTo>
                  <a:lnTo>
                    <a:pt x="743" y="2424"/>
                  </a:lnTo>
                  <a:lnTo>
                    <a:pt x="743" y="2431"/>
                  </a:lnTo>
                  <a:lnTo>
                    <a:pt x="744" y="2435"/>
                  </a:lnTo>
                  <a:lnTo>
                    <a:pt x="747" y="2440"/>
                  </a:lnTo>
                  <a:lnTo>
                    <a:pt x="753" y="2443"/>
                  </a:lnTo>
                  <a:lnTo>
                    <a:pt x="760" y="2448"/>
                  </a:lnTo>
                  <a:lnTo>
                    <a:pt x="772" y="2451"/>
                  </a:lnTo>
                  <a:lnTo>
                    <a:pt x="785" y="2454"/>
                  </a:lnTo>
                  <a:lnTo>
                    <a:pt x="803" y="2457"/>
                  </a:lnTo>
                  <a:lnTo>
                    <a:pt x="839" y="2461"/>
                  </a:lnTo>
                  <a:lnTo>
                    <a:pt x="870" y="2465"/>
                  </a:lnTo>
                  <a:lnTo>
                    <a:pt x="895" y="2468"/>
                  </a:lnTo>
                  <a:lnTo>
                    <a:pt x="915" y="2469"/>
                  </a:lnTo>
                  <a:lnTo>
                    <a:pt x="941" y="2470"/>
                  </a:lnTo>
                  <a:lnTo>
                    <a:pt x="949" y="2470"/>
                  </a:lnTo>
                  <a:lnTo>
                    <a:pt x="951" y="2471"/>
                  </a:lnTo>
                  <a:lnTo>
                    <a:pt x="953" y="2473"/>
                  </a:lnTo>
                  <a:close/>
                  <a:moveTo>
                    <a:pt x="1419" y="183"/>
                  </a:moveTo>
                  <a:lnTo>
                    <a:pt x="1412" y="181"/>
                  </a:lnTo>
                  <a:lnTo>
                    <a:pt x="1386" y="174"/>
                  </a:lnTo>
                  <a:lnTo>
                    <a:pt x="1359" y="155"/>
                  </a:lnTo>
                  <a:lnTo>
                    <a:pt x="1331" y="160"/>
                  </a:lnTo>
                  <a:lnTo>
                    <a:pt x="1341" y="187"/>
                  </a:lnTo>
                  <a:lnTo>
                    <a:pt x="1345" y="189"/>
                  </a:lnTo>
                  <a:lnTo>
                    <a:pt x="1373" y="213"/>
                  </a:lnTo>
                  <a:lnTo>
                    <a:pt x="1398" y="236"/>
                  </a:lnTo>
                  <a:lnTo>
                    <a:pt x="1424" y="231"/>
                  </a:lnTo>
                  <a:lnTo>
                    <a:pt x="1424" y="222"/>
                  </a:lnTo>
                  <a:lnTo>
                    <a:pt x="1421" y="199"/>
                  </a:lnTo>
                  <a:lnTo>
                    <a:pt x="1419" y="187"/>
                  </a:lnTo>
                  <a:lnTo>
                    <a:pt x="1419" y="183"/>
                  </a:lnTo>
                  <a:close/>
                  <a:moveTo>
                    <a:pt x="1681" y="890"/>
                  </a:moveTo>
                  <a:lnTo>
                    <a:pt x="1670" y="878"/>
                  </a:lnTo>
                  <a:lnTo>
                    <a:pt x="1657" y="849"/>
                  </a:lnTo>
                  <a:lnTo>
                    <a:pt x="1675" y="860"/>
                  </a:lnTo>
                  <a:lnTo>
                    <a:pt x="1649" y="841"/>
                  </a:lnTo>
                  <a:lnTo>
                    <a:pt x="1654" y="867"/>
                  </a:lnTo>
                  <a:lnTo>
                    <a:pt x="1681" y="890"/>
                  </a:lnTo>
                  <a:close/>
                  <a:moveTo>
                    <a:pt x="1378" y="397"/>
                  </a:moveTo>
                  <a:lnTo>
                    <a:pt x="1383" y="420"/>
                  </a:lnTo>
                  <a:lnTo>
                    <a:pt x="1409" y="438"/>
                  </a:lnTo>
                  <a:lnTo>
                    <a:pt x="1409" y="414"/>
                  </a:lnTo>
                  <a:lnTo>
                    <a:pt x="1403" y="404"/>
                  </a:lnTo>
                  <a:lnTo>
                    <a:pt x="1378" y="397"/>
                  </a:lnTo>
                  <a:close/>
                  <a:moveTo>
                    <a:pt x="1295" y="448"/>
                  </a:moveTo>
                  <a:lnTo>
                    <a:pt x="1324" y="448"/>
                  </a:lnTo>
                  <a:lnTo>
                    <a:pt x="1336" y="473"/>
                  </a:lnTo>
                  <a:lnTo>
                    <a:pt x="1334" y="503"/>
                  </a:lnTo>
                  <a:lnTo>
                    <a:pt x="1308" y="492"/>
                  </a:lnTo>
                  <a:lnTo>
                    <a:pt x="1287" y="466"/>
                  </a:lnTo>
                  <a:lnTo>
                    <a:pt x="1295" y="448"/>
                  </a:lnTo>
                  <a:close/>
                  <a:moveTo>
                    <a:pt x="1251" y="484"/>
                  </a:moveTo>
                  <a:lnTo>
                    <a:pt x="1280" y="484"/>
                  </a:lnTo>
                  <a:lnTo>
                    <a:pt x="1253" y="503"/>
                  </a:lnTo>
                  <a:lnTo>
                    <a:pt x="1251" y="484"/>
                  </a:lnTo>
                  <a:close/>
                  <a:moveTo>
                    <a:pt x="1184" y="397"/>
                  </a:moveTo>
                  <a:lnTo>
                    <a:pt x="1209" y="399"/>
                  </a:lnTo>
                  <a:lnTo>
                    <a:pt x="1239" y="401"/>
                  </a:lnTo>
                  <a:lnTo>
                    <a:pt x="1264" y="422"/>
                  </a:lnTo>
                  <a:lnTo>
                    <a:pt x="1235" y="427"/>
                  </a:lnTo>
                  <a:lnTo>
                    <a:pt x="1209" y="425"/>
                  </a:lnTo>
                  <a:lnTo>
                    <a:pt x="1181" y="417"/>
                  </a:lnTo>
                  <a:lnTo>
                    <a:pt x="1184" y="397"/>
                  </a:lnTo>
                  <a:close/>
                  <a:moveTo>
                    <a:pt x="1373" y="293"/>
                  </a:moveTo>
                  <a:lnTo>
                    <a:pt x="1398" y="310"/>
                  </a:lnTo>
                  <a:lnTo>
                    <a:pt x="1373" y="310"/>
                  </a:lnTo>
                  <a:lnTo>
                    <a:pt x="1373" y="293"/>
                  </a:lnTo>
                  <a:close/>
                  <a:moveTo>
                    <a:pt x="1315" y="210"/>
                  </a:moveTo>
                  <a:lnTo>
                    <a:pt x="1341" y="202"/>
                  </a:lnTo>
                  <a:lnTo>
                    <a:pt x="1365" y="231"/>
                  </a:lnTo>
                  <a:lnTo>
                    <a:pt x="1336" y="254"/>
                  </a:lnTo>
                  <a:lnTo>
                    <a:pt x="1310" y="228"/>
                  </a:lnTo>
                  <a:lnTo>
                    <a:pt x="1315" y="210"/>
                  </a:lnTo>
                  <a:close/>
                  <a:moveTo>
                    <a:pt x="1686" y="72"/>
                  </a:moveTo>
                  <a:lnTo>
                    <a:pt x="1711" y="75"/>
                  </a:lnTo>
                  <a:lnTo>
                    <a:pt x="1686" y="80"/>
                  </a:lnTo>
                  <a:lnTo>
                    <a:pt x="1686" y="72"/>
                  </a:lnTo>
                  <a:close/>
                  <a:moveTo>
                    <a:pt x="1592" y="8"/>
                  </a:moveTo>
                  <a:lnTo>
                    <a:pt x="1619" y="0"/>
                  </a:lnTo>
                  <a:lnTo>
                    <a:pt x="1647" y="13"/>
                  </a:lnTo>
                  <a:lnTo>
                    <a:pt x="1619" y="26"/>
                  </a:lnTo>
                  <a:lnTo>
                    <a:pt x="1592" y="15"/>
                  </a:lnTo>
                  <a:lnTo>
                    <a:pt x="1592" y="8"/>
                  </a:lnTo>
                  <a:close/>
                  <a:moveTo>
                    <a:pt x="663" y="2137"/>
                  </a:moveTo>
                  <a:lnTo>
                    <a:pt x="663" y="2138"/>
                  </a:lnTo>
                  <a:lnTo>
                    <a:pt x="662" y="2139"/>
                  </a:lnTo>
                  <a:lnTo>
                    <a:pt x="663" y="2138"/>
                  </a:lnTo>
                  <a:lnTo>
                    <a:pt x="663" y="21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262626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176" name="Freeform 44"/>
            <p:cNvSpPr>
              <a:spLocks noEditPoints="1"/>
            </p:cNvSpPr>
            <p:nvPr/>
          </p:nvSpPr>
          <p:spPr bwMode="auto">
            <a:xfrm>
              <a:off x="2828053" y="2035078"/>
              <a:ext cx="1102434" cy="1063627"/>
            </a:xfrm>
            <a:custGeom>
              <a:avLst/>
              <a:gdLst>
                <a:gd name="T0" fmla="*/ 2147483647 w 1876"/>
                <a:gd name="T1" fmla="*/ 2147483647 h 1809"/>
                <a:gd name="T2" fmla="*/ 2147483647 w 1876"/>
                <a:gd name="T3" fmla="*/ 2147483647 h 1809"/>
                <a:gd name="T4" fmla="*/ 2147483647 w 1876"/>
                <a:gd name="T5" fmla="*/ 2147483647 h 1809"/>
                <a:gd name="T6" fmla="*/ 2147483647 w 1876"/>
                <a:gd name="T7" fmla="*/ 2147483647 h 1809"/>
                <a:gd name="T8" fmla="*/ 2147483647 w 1876"/>
                <a:gd name="T9" fmla="*/ 2147483647 h 1809"/>
                <a:gd name="T10" fmla="*/ 2147483647 w 1876"/>
                <a:gd name="T11" fmla="*/ 2147483647 h 1809"/>
                <a:gd name="T12" fmla="*/ 2147483647 w 1876"/>
                <a:gd name="T13" fmla="*/ 2147483647 h 1809"/>
                <a:gd name="T14" fmla="*/ 2147483647 w 1876"/>
                <a:gd name="T15" fmla="*/ 2147483647 h 1809"/>
                <a:gd name="T16" fmla="*/ 2147483647 w 1876"/>
                <a:gd name="T17" fmla="*/ 2147483647 h 1809"/>
                <a:gd name="T18" fmla="*/ 2147483647 w 1876"/>
                <a:gd name="T19" fmla="*/ 2147483647 h 1809"/>
                <a:gd name="T20" fmla="*/ 2147483647 w 1876"/>
                <a:gd name="T21" fmla="*/ 2147483647 h 1809"/>
                <a:gd name="T22" fmla="*/ 2147483647 w 1876"/>
                <a:gd name="T23" fmla="*/ 2147483647 h 1809"/>
                <a:gd name="T24" fmla="*/ 2147483647 w 1876"/>
                <a:gd name="T25" fmla="*/ 2147483647 h 1809"/>
                <a:gd name="T26" fmla="*/ 2147483647 w 1876"/>
                <a:gd name="T27" fmla="*/ 2147483647 h 1809"/>
                <a:gd name="T28" fmla="*/ 2147483647 w 1876"/>
                <a:gd name="T29" fmla="*/ 2147483647 h 1809"/>
                <a:gd name="T30" fmla="*/ 2147483647 w 1876"/>
                <a:gd name="T31" fmla="*/ 2147483647 h 1809"/>
                <a:gd name="T32" fmla="*/ 2147483647 w 1876"/>
                <a:gd name="T33" fmla="*/ 2147483647 h 1809"/>
                <a:gd name="T34" fmla="*/ 2147483647 w 1876"/>
                <a:gd name="T35" fmla="*/ 2147483647 h 1809"/>
                <a:gd name="T36" fmla="*/ 2147483647 w 1876"/>
                <a:gd name="T37" fmla="*/ 2147483647 h 1809"/>
                <a:gd name="T38" fmla="*/ 2147483647 w 1876"/>
                <a:gd name="T39" fmla="*/ 2147483647 h 1809"/>
                <a:gd name="T40" fmla="*/ 2147483647 w 1876"/>
                <a:gd name="T41" fmla="*/ 2147483647 h 1809"/>
                <a:gd name="T42" fmla="*/ 2147483647 w 1876"/>
                <a:gd name="T43" fmla="*/ 2147483647 h 1809"/>
                <a:gd name="T44" fmla="*/ 2147483647 w 1876"/>
                <a:gd name="T45" fmla="*/ 2147483647 h 1809"/>
                <a:gd name="T46" fmla="*/ 2147483647 w 1876"/>
                <a:gd name="T47" fmla="*/ 2147483647 h 1809"/>
                <a:gd name="T48" fmla="*/ 2147483647 w 1876"/>
                <a:gd name="T49" fmla="*/ 2147483647 h 1809"/>
                <a:gd name="T50" fmla="*/ 2147483647 w 1876"/>
                <a:gd name="T51" fmla="*/ 2147483647 h 1809"/>
                <a:gd name="T52" fmla="*/ 2147483647 w 1876"/>
                <a:gd name="T53" fmla="*/ 2147483647 h 1809"/>
                <a:gd name="T54" fmla="*/ 2147483647 w 1876"/>
                <a:gd name="T55" fmla="*/ 2147483647 h 1809"/>
                <a:gd name="T56" fmla="*/ 2147483647 w 1876"/>
                <a:gd name="T57" fmla="*/ 2147483647 h 1809"/>
                <a:gd name="T58" fmla="*/ 2147483647 w 1876"/>
                <a:gd name="T59" fmla="*/ 2147483647 h 1809"/>
                <a:gd name="T60" fmla="*/ 2147483647 w 1876"/>
                <a:gd name="T61" fmla="*/ 2147483647 h 1809"/>
                <a:gd name="T62" fmla="*/ 2147483647 w 1876"/>
                <a:gd name="T63" fmla="*/ 2147483647 h 1809"/>
                <a:gd name="T64" fmla="*/ 2147483647 w 1876"/>
                <a:gd name="T65" fmla="*/ 2147483647 h 1809"/>
                <a:gd name="T66" fmla="*/ 2147483647 w 1876"/>
                <a:gd name="T67" fmla="*/ 2147483647 h 1809"/>
                <a:gd name="T68" fmla="*/ 2147483647 w 1876"/>
                <a:gd name="T69" fmla="*/ 2147483647 h 1809"/>
                <a:gd name="T70" fmla="*/ 2147483647 w 1876"/>
                <a:gd name="T71" fmla="*/ 2147483647 h 1809"/>
                <a:gd name="T72" fmla="*/ 2147483647 w 1876"/>
                <a:gd name="T73" fmla="*/ 2147483647 h 1809"/>
                <a:gd name="T74" fmla="*/ 2147483647 w 1876"/>
                <a:gd name="T75" fmla="*/ 2147483647 h 1809"/>
                <a:gd name="T76" fmla="*/ 2147483647 w 1876"/>
                <a:gd name="T77" fmla="*/ 2147483647 h 1809"/>
                <a:gd name="T78" fmla="*/ 2147483647 w 1876"/>
                <a:gd name="T79" fmla="*/ 2147483647 h 1809"/>
                <a:gd name="T80" fmla="*/ 2147483647 w 1876"/>
                <a:gd name="T81" fmla="*/ 2147483647 h 1809"/>
                <a:gd name="T82" fmla="*/ 2147483647 w 1876"/>
                <a:gd name="T83" fmla="*/ 2147483647 h 1809"/>
                <a:gd name="T84" fmla="*/ 2147483647 w 1876"/>
                <a:gd name="T85" fmla="*/ 2147483647 h 1809"/>
                <a:gd name="T86" fmla="*/ 2147483647 w 1876"/>
                <a:gd name="T87" fmla="*/ 2147483647 h 1809"/>
                <a:gd name="T88" fmla="*/ 2147483647 w 1876"/>
                <a:gd name="T89" fmla="*/ 2147483647 h 1809"/>
                <a:gd name="T90" fmla="*/ 2147483647 w 1876"/>
                <a:gd name="T91" fmla="*/ 2147483647 h 1809"/>
                <a:gd name="T92" fmla="*/ 2147483647 w 1876"/>
                <a:gd name="T93" fmla="*/ 2147483647 h 1809"/>
                <a:gd name="T94" fmla="*/ 2147483647 w 1876"/>
                <a:gd name="T95" fmla="*/ 2147483647 h 1809"/>
                <a:gd name="T96" fmla="*/ 2147483647 w 1876"/>
                <a:gd name="T97" fmla="*/ 2147483647 h 1809"/>
                <a:gd name="T98" fmla="*/ 2147483647 w 1876"/>
                <a:gd name="T99" fmla="*/ 2147483647 h 1809"/>
                <a:gd name="T100" fmla="*/ 2147483647 w 1876"/>
                <a:gd name="T101" fmla="*/ 2147483647 h 1809"/>
                <a:gd name="T102" fmla="*/ 2147483647 w 1876"/>
                <a:gd name="T103" fmla="*/ 2147483647 h 1809"/>
                <a:gd name="T104" fmla="*/ 2147483647 w 1876"/>
                <a:gd name="T105" fmla="*/ 2147483647 h 1809"/>
                <a:gd name="T106" fmla="*/ 2147483647 w 1876"/>
                <a:gd name="T107" fmla="*/ 2147483647 h 1809"/>
                <a:gd name="T108" fmla="*/ 2147483647 w 1876"/>
                <a:gd name="T109" fmla="*/ 2147483647 h 1809"/>
                <a:gd name="T110" fmla="*/ 2147483647 w 1876"/>
                <a:gd name="T111" fmla="*/ 2147483647 h 1809"/>
                <a:gd name="T112" fmla="*/ 2147483647 w 1876"/>
                <a:gd name="T113" fmla="*/ 2147483647 h 1809"/>
                <a:gd name="T114" fmla="*/ 2147483647 w 1876"/>
                <a:gd name="T115" fmla="*/ 2147483647 h 1809"/>
                <a:gd name="T116" fmla="*/ 2147483647 w 1876"/>
                <a:gd name="T117" fmla="*/ 2147483647 h 1809"/>
                <a:gd name="T118" fmla="*/ 2147483647 w 1876"/>
                <a:gd name="T119" fmla="*/ 2147483647 h 1809"/>
                <a:gd name="T120" fmla="*/ 2147483647 w 1876"/>
                <a:gd name="T121" fmla="*/ 2147483647 h 1809"/>
                <a:gd name="T122" fmla="*/ 2147483647 w 1876"/>
                <a:gd name="T123" fmla="*/ 2147483647 h 180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876" h="1809">
                  <a:moveTo>
                    <a:pt x="1876" y="227"/>
                  </a:moveTo>
                  <a:lnTo>
                    <a:pt x="1852" y="214"/>
                  </a:lnTo>
                  <a:lnTo>
                    <a:pt x="1841" y="214"/>
                  </a:lnTo>
                  <a:lnTo>
                    <a:pt x="1813" y="219"/>
                  </a:lnTo>
                  <a:lnTo>
                    <a:pt x="1787" y="223"/>
                  </a:lnTo>
                  <a:lnTo>
                    <a:pt x="1764" y="248"/>
                  </a:lnTo>
                  <a:lnTo>
                    <a:pt x="1738" y="274"/>
                  </a:lnTo>
                  <a:lnTo>
                    <a:pt x="1712" y="287"/>
                  </a:lnTo>
                  <a:lnTo>
                    <a:pt x="1684" y="295"/>
                  </a:lnTo>
                  <a:lnTo>
                    <a:pt x="1661" y="269"/>
                  </a:lnTo>
                  <a:lnTo>
                    <a:pt x="1635" y="272"/>
                  </a:lnTo>
                  <a:lnTo>
                    <a:pt x="1608" y="274"/>
                  </a:lnTo>
                  <a:lnTo>
                    <a:pt x="1580" y="251"/>
                  </a:lnTo>
                  <a:lnTo>
                    <a:pt x="1555" y="244"/>
                  </a:lnTo>
                  <a:lnTo>
                    <a:pt x="1526" y="244"/>
                  </a:lnTo>
                  <a:lnTo>
                    <a:pt x="1500" y="225"/>
                  </a:lnTo>
                  <a:lnTo>
                    <a:pt x="1472" y="212"/>
                  </a:lnTo>
                  <a:lnTo>
                    <a:pt x="1482" y="186"/>
                  </a:lnTo>
                  <a:lnTo>
                    <a:pt x="1454" y="175"/>
                  </a:lnTo>
                  <a:lnTo>
                    <a:pt x="1428" y="173"/>
                  </a:lnTo>
                  <a:lnTo>
                    <a:pt x="1402" y="186"/>
                  </a:lnTo>
                  <a:lnTo>
                    <a:pt x="1373" y="181"/>
                  </a:lnTo>
                  <a:lnTo>
                    <a:pt x="1348" y="181"/>
                  </a:lnTo>
                  <a:lnTo>
                    <a:pt x="1319" y="178"/>
                  </a:lnTo>
                  <a:lnTo>
                    <a:pt x="1290" y="178"/>
                  </a:lnTo>
                  <a:lnTo>
                    <a:pt x="1265" y="184"/>
                  </a:lnTo>
                  <a:lnTo>
                    <a:pt x="1239" y="196"/>
                  </a:lnTo>
                  <a:lnTo>
                    <a:pt x="1211" y="207"/>
                  </a:lnTo>
                  <a:lnTo>
                    <a:pt x="1184" y="217"/>
                  </a:lnTo>
                  <a:lnTo>
                    <a:pt x="1184" y="244"/>
                  </a:lnTo>
                  <a:lnTo>
                    <a:pt x="1172" y="269"/>
                  </a:lnTo>
                  <a:lnTo>
                    <a:pt x="1164" y="295"/>
                  </a:lnTo>
                  <a:lnTo>
                    <a:pt x="1159" y="321"/>
                  </a:lnTo>
                  <a:lnTo>
                    <a:pt x="1136" y="331"/>
                  </a:lnTo>
                  <a:lnTo>
                    <a:pt x="1110" y="331"/>
                  </a:lnTo>
                  <a:lnTo>
                    <a:pt x="1081" y="346"/>
                  </a:lnTo>
                  <a:lnTo>
                    <a:pt x="1060" y="373"/>
                  </a:lnTo>
                  <a:lnTo>
                    <a:pt x="1032" y="380"/>
                  </a:lnTo>
                  <a:lnTo>
                    <a:pt x="1006" y="370"/>
                  </a:lnTo>
                  <a:lnTo>
                    <a:pt x="981" y="370"/>
                  </a:lnTo>
                  <a:lnTo>
                    <a:pt x="952" y="385"/>
                  </a:lnTo>
                  <a:lnTo>
                    <a:pt x="926" y="370"/>
                  </a:lnTo>
                  <a:lnTo>
                    <a:pt x="898" y="375"/>
                  </a:lnTo>
                  <a:lnTo>
                    <a:pt x="871" y="364"/>
                  </a:lnTo>
                  <a:lnTo>
                    <a:pt x="846" y="352"/>
                  </a:lnTo>
                  <a:lnTo>
                    <a:pt x="820" y="357"/>
                  </a:lnTo>
                  <a:lnTo>
                    <a:pt x="792" y="362"/>
                  </a:lnTo>
                  <a:lnTo>
                    <a:pt x="765" y="370"/>
                  </a:lnTo>
                  <a:lnTo>
                    <a:pt x="740" y="373"/>
                  </a:lnTo>
                  <a:lnTo>
                    <a:pt x="712" y="383"/>
                  </a:lnTo>
                  <a:lnTo>
                    <a:pt x="691" y="408"/>
                  </a:lnTo>
                  <a:lnTo>
                    <a:pt x="665" y="412"/>
                  </a:lnTo>
                  <a:lnTo>
                    <a:pt x="640" y="422"/>
                  </a:lnTo>
                  <a:lnTo>
                    <a:pt x="613" y="433"/>
                  </a:lnTo>
                  <a:lnTo>
                    <a:pt x="585" y="424"/>
                  </a:lnTo>
                  <a:lnTo>
                    <a:pt x="559" y="401"/>
                  </a:lnTo>
                  <a:lnTo>
                    <a:pt x="530" y="383"/>
                  </a:lnTo>
                  <a:lnTo>
                    <a:pt x="504" y="362"/>
                  </a:lnTo>
                  <a:lnTo>
                    <a:pt x="484" y="336"/>
                  </a:lnTo>
                  <a:lnTo>
                    <a:pt x="458" y="313"/>
                  </a:lnTo>
                  <a:lnTo>
                    <a:pt x="432" y="302"/>
                  </a:lnTo>
                  <a:lnTo>
                    <a:pt x="403" y="279"/>
                  </a:lnTo>
                  <a:lnTo>
                    <a:pt x="396" y="261"/>
                  </a:lnTo>
                  <a:lnTo>
                    <a:pt x="391" y="246"/>
                  </a:lnTo>
                  <a:lnTo>
                    <a:pt x="378" y="235"/>
                  </a:lnTo>
                  <a:lnTo>
                    <a:pt x="350" y="230"/>
                  </a:lnTo>
                  <a:lnTo>
                    <a:pt x="331" y="202"/>
                  </a:lnTo>
                  <a:lnTo>
                    <a:pt x="306" y="182"/>
                  </a:lnTo>
                  <a:lnTo>
                    <a:pt x="288" y="155"/>
                  </a:lnTo>
                  <a:lnTo>
                    <a:pt x="288" y="127"/>
                  </a:lnTo>
                  <a:lnTo>
                    <a:pt x="274" y="101"/>
                  </a:lnTo>
                  <a:lnTo>
                    <a:pt x="249" y="80"/>
                  </a:lnTo>
                  <a:lnTo>
                    <a:pt x="256" y="51"/>
                  </a:lnTo>
                  <a:lnTo>
                    <a:pt x="272" y="26"/>
                  </a:lnTo>
                  <a:lnTo>
                    <a:pt x="283" y="0"/>
                  </a:lnTo>
                  <a:lnTo>
                    <a:pt x="272" y="4"/>
                  </a:lnTo>
                  <a:lnTo>
                    <a:pt x="249" y="30"/>
                  </a:lnTo>
                  <a:lnTo>
                    <a:pt x="223" y="36"/>
                  </a:lnTo>
                  <a:lnTo>
                    <a:pt x="197" y="43"/>
                  </a:lnTo>
                  <a:lnTo>
                    <a:pt x="171" y="48"/>
                  </a:lnTo>
                  <a:lnTo>
                    <a:pt x="171" y="74"/>
                  </a:lnTo>
                  <a:lnTo>
                    <a:pt x="166" y="103"/>
                  </a:lnTo>
                  <a:lnTo>
                    <a:pt x="153" y="129"/>
                  </a:lnTo>
                  <a:lnTo>
                    <a:pt x="127" y="154"/>
                  </a:lnTo>
                  <a:lnTo>
                    <a:pt x="101" y="170"/>
                  </a:lnTo>
                  <a:lnTo>
                    <a:pt x="76" y="193"/>
                  </a:lnTo>
                  <a:lnTo>
                    <a:pt x="73" y="223"/>
                  </a:lnTo>
                  <a:lnTo>
                    <a:pt x="76" y="248"/>
                  </a:lnTo>
                  <a:lnTo>
                    <a:pt x="60" y="276"/>
                  </a:lnTo>
                  <a:lnTo>
                    <a:pt x="62" y="302"/>
                  </a:lnTo>
                  <a:lnTo>
                    <a:pt x="88" y="292"/>
                  </a:lnTo>
                  <a:lnTo>
                    <a:pt x="114" y="266"/>
                  </a:lnTo>
                  <a:lnTo>
                    <a:pt x="135" y="240"/>
                  </a:lnTo>
                  <a:lnTo>
                    <a:pt x="138" y="246"/>
                  </a:lnTo>
                  <a:lnTo>
                    <a:pt x="124" y="264"/>
                  </a:lnTo>
                  <a:lnTo>
                    <a:pt x="106" y="290"/>
                  </a:lnTo>
                  <a:lnTo>
                    <a:pt x="80" y="308"/>
                  </a:lnTo>
                  <a:lnTo>
                    <a:pt x="52" y="310"/>
                  </a:lnTo>
                  <a:lnTo>
                    <a:pt x="27" y="325"/>
                  </a:lnTo>
                  <a:lnTo>
                    <a:pt x="37" y="354"/>
                  </a:lnTo>
                  <a:lnTo>
                    <a:pt x="46" y="380"/>
                  </a:lnTo>
                  <a:lnTo>
                    <a:pt x="42" y="408"/>
                  </a:lnTo>
                  <a:lnTo>
                    <a:pt x="13" y="426"/>
                  </a:lnTo>
                  <a:lnTo>
                    <a:pt x="0" y="440"/>
                  </a:lnTo>
                  <a:lnTo>
                    <a:pt x="13" y="465"/>
                  </a:lnTo>
                  <a:lnTo>
                    <a:pt x="18" y="491"/>
                  </a:lnTo>
                  <a:lnTo>
                    <a:pt x="29" y="520"/>
                  </a:lnTo>
                  <a:lnTo>
                    <a:pt x="21" y="546"/>
                  </a:lnTo>
                  <a:lnTo>
                    <a:pt x="32" y="571"/>
                  </a:lnTo>
                  <a:lnTo>
                    <a:pt x="29" y="601"/>
                  </a:lnTo>
                  <a:lnTo>
                    <a:pt x="32" y="626"/>
                  </a:lnTo>
                  <a:lnTo>
                    <a:pt x="60" y="626"/>
                  </a:lnTo>
                  <a:lnTo>
                    <a:pt x="85" y="647"/>
                  </a:lnTo>
                  <a:lnTo>
                    <a:pt x="101" y="673"/>
                  </a:lnTo>
                  <a:lnTo>
                    <a:pt x="119" y="698"/>
                  </a:lnTo>
                  <a:lnTo>
                    <a:pt x="135" y="727"/>
                  </a:lnTo>
                  <a:lnTo>
                    <a:pt x="106" y="732"/>
                  </a:lnTo>
                  <a:lnTo>
                    <a:pt x="117" y="758"/>
                  </a:lnTo>
                  <a:lnTo>
                    <a:pt x="119" y="786"/>
                  </a:lnTo>
                  <a:lnTo>
                    <a:pt x="129" y="813"/>
                  </a:lnTo>
                  <a:lnTo>
                    <a:pt x="133" y="815"/>
                  </a:lnTo>
                  <a:lnTo>
                    <a:pt x="104" y="807"/>
                  </a:lnTo>
                  <a:lnTo>
                    <a:pt x="78" y="807"/>
                  </a:lnTo>
                  <a:lnTo>
                    <a:pt x="85" y="833"/>
                  </a:lnTo>
                  <a:lnTo>
                    <a:pt x="101" y="859"/>
                  </a:lnTo>
                  <a:lnTo>
                    <a:pt x="91" y="887"/>
                  </a:lnTo>
                  <a:lnTo>
                    <a:pt x="99" y="914"/>
                  </a:lnTo>
                  <a:lnTo>
                    <a:pt x="124" y="926"/>
                  </a:lnTo>
                  <a:lnTo>
                    <a:pt x="150" y="940"/>
                  </a:lnTo>
                  <a:lnTo>
                    <a:pt x="177" y="937"/>
                  </a:lnTo>
                  <a:lnTo>
                    <a:pt x="179" y="963"/>
                  </a:lnTo>
                  <a:lnTo>
                    <a:pt x="207" y="973"/>
                  </a:lnTo>
                  <a:lnTo>
                    <a:pt x="233" y="988"/>
                  </a:lnTo>
                  <a:lnTo>
                    <a:pt x="205" y="988"/>
                  </a:lnTo>
                  <a:lnTo>
                    <a:pt x="177" y="978"/>
                  </a:lnTo>
                  <a:lnTo>
                    <a:pt x="150" y="970"/>
                  </a:lnTo>
                  <a:lnTo>
                    <a:pt x="143" y="999"/>
                  </a:lnTo>
                  <a:lnTo>
                    <a:pt x="148" y="1025"/>
                  </a:lnTo>
                  <a:lnTo>
                    <a:pt x="173" y="1048"/>
                  </a:lnTo>
                  <a:lnTo>
                    <a:pt x="200" y="1050"/>
                  </a:lnTo>
                  <a:lnTo>
                    <a:pt x="228" y="1035"/>
                  </a:lnTo>
                  <a:lnTo>
                    <a:pt x="254" y="1046"/>
                  </a:lnTo>
                  <a:lnTo>
                    <a:pt x="277" y="1071"/>
                  </a:lnTo>
                  <a:lnTo>
                    <a:pt x="303" y="1069"/>
                  </a:lnTo>
                  <a:lnTo>
                    <a:pt x="316" y="1041"/>
                  </a:lnTo>
                  <a:lnTo>
                    <a:pt x="311" y="1069"/>
                  </a:lnTo>
                  <a:lnTo>
                    <a:pt x="326" y="1094"/>
                  </a:lnTo>
                  <a:lnTo>
                    <a:pt x="355" y="1115"/>
                  </a:lnTo>
                  <a:lnTo>
                    <a:pt x="380" y="1126"/>
                  </a:lnTo>
                  <a:lnTo>
                    <a:pt x="375" y="1152"/>
                  </a:lnTo>
                  <a:lnTo>
                    <a:pt x="389" y="1177"/>
                  </a:lnTo>
                  <a:lnTo>
                    <a:pt x="403" y="1182"/>
                  </a:lnTo>
                  <a:lnTo>
                    <a:pt x="428" y="1209"/>
                  </a:lnTo>
                  <a:lnTo>
                    <a:pt x="428" y="1237"/>
                  </a:lnTo>
                  <a:lnTo>
                    <a:pt x="422" y="1263"/>
                  </a:lnTo>
                  <a:lnTo>
                    <a:pt x="419" y="1292"/>
                  </a:lnTo>
                  <a:lnTo>
                    <a:pt x="417" y="1320"/>
                  </a:lnTo>
                  <a:lnTo>
                    <a:pt x="403" y="1338"/>
                  </a:lnTo>
                  <a:lnTo>
                    <a:pt x="378" y="1356"/>
                  </a:lnTo>
                  <a:lnTo>
                    <a:pt x="378" y="1384"/>
                  </a:lnTo>
                  <a:lnTo>
                    <a:pt x="403" y="1400"/>
                  </a:lnTo>
                  <a:lnTo>
                    <a:pt x="432" y="1413"/>
                  </a:lnTo>
                  <a:lnTo>
                    <a:pt x="442" y="1439"/>
                  </a:lnTo>
                  <a:lnTo>
                    <a:pt x="451" y="1467"/>
                  </a:lnTo>
                  <a:lnTo>
                    <a:pt x="440" y="1493"/>
                  </a:lnTo>
                  <a:lnTo>
                    <a:pt x="437" y="1522"/>
                  </a:lnTo>
                  <a:lnTo>
                    <a:pt x="456" y="1548"/>
                  </a:lnTo>
                  <a:lnTo>
                    <a:pt x="461" y="1576"/>
                  </a:lnTo>
                  <a:lnTo>
                    <a:pt x="468" y="1605"/>
                  </a:lnTo>
                  <a:lnTo>
                    <a:pt x="486" y="1631"/>
                  </a:lnTo>
                  <a:lnTo>
                    <a:pt x="461" y="1656"/>
                  </a:lnTo>
                  <a:lnTo>
                    <a:pt x="481" y="1682"/>
                  </a:lnTo>
                  <a:lnTo>
                    <a:pt x="486" y="1709"/>
                  </a:lnTo>
                  <a:lnTo>
                    <a:pt x="486" y="1737"/>
                  </a:lnTo>
                  <a:lnTo>
                    <a:pt x="481" y="1762"/>
                  </a:lnTo>
                  <a:lnTo>
                    <a:pt x="495" y="1788"/>
                  </a:lnTo>
                  <a:lnTo>
                    <a:pt x="520" y="1781"/>
                  </a:lnTo>
                  <a:lnTo>
                    <a:pt x="548" y="1765"/>
                  </a:lnTo>
                  <a:lnTo>
                    <a:pt x="574" y="1749"/>
                  </a:lnTo>
                  <a:lnTo>
                    <a:pt x="601" y="1744"/>
                  </a:lnTo>
                  <a:lnTo>
                    <a:pt x="626" y="1773"/>
                  </a:lnTo>
                  <a:lnTo>
                    <a:pt x="631" y="1801"/>
                  </a:lnTo>
                  <a:lnTo>
                    <a:pt x="657" y="1809"/>
                  </a:lnTo>
                  <a:lnTo>
                    <a:pt x="675" y="1781"/>
                  </a:lnTo>
                  <a:lnTo>
                    <a:pt x="690" y="1772"/>
                  </a:lnTo>
                  <a:lnTo>
                    <a:pt x="694" y="1768"/>
                  </a:lnTo>
                  <a:lnTo>
                    <a:pt x="700" y="1765"/>
                  </a:lnTo>
                  <a:lnTo>
                    <a:pt x="701" y="1765"/>
                  </a:lnTo>
                  <a:lnTo>
                    <a:pt x="730" y="1753"/>
                  </a:lnTo>
                  <a:lnTo>
                    <a:pt x="732" y="1752"/>
                  </a:lnTo>
                  <a:lnTo>
                    <a:pt x="743" y="1742"/>
                  </a:lnTo>
                  <a:lnTo>
                    <a:pt x="791" y="1695"/>
                  </a:lnTo>
                  <a:lnTo>
                    <a:pt x="792" y="1682"/>
                  </a:lnTo>
                  <a:lnTo>
                    <a:pt x="794" y="1651"/>
                  </a:lnTo>
                  <a:lnTo>
                    <a:pt x="795" y="1612"/>
                  </a:lnTo>
                  <a:lnTo>
                    <a:pt x="794" y="1574"/>
                  </a:lnTo>
                  <a:lnTo>
                    <a:pt x="793" y="1566"/>
                  </a:lnTo>
                  <a:lnTo>
                    <a:pt x="791" y="1557"/>
                  </a:lnTo>
                  <a:lnTo>
                    <a:pt x="789" y="1550"/>
                  </a:lnTo>
                  <a:lnTo>
                    <a:pt x="785" y="1543"/>
                  </a:lnTo>
                  <a:lnTo>
                    <a:pt x="778" y="1527"/>
                  </a:lnTo>
                  <a:lnTo>
                    <a:pt x="770" y="1513"/>
                  </a:lnTo>
                  <a:lnTo>
                    <a:pt x="760" y="1499"/>
                  </a:lnTo>
                  <a:lnTo>
                    <a:pt x="752" y="1485"/>
                  </a:lnTo>
                  <a:lnTo>
                    <a:pt x="744" y="1470"/>
                  </a:lnTo>
                  <a:lnTo>
                    <a:pt x="740" y="1456"/>
                  </a:lnTo>
                  <a:lnTo>
                    <a:pt x="739" y="1449"/>
                  </a:lnTo>
                  <a:lnTo>
                    <a:pt x="738" y="1442"/>
                  </a:lnTo>
                  <a:lnTo>
                    <a:pt x="739" y="1433"/>
                  </a:lnTo>
                  <a:lnTo>
                    <a:pt x="741" y="1425"/>
                  </a:lnTo>
                  <a:lnTo>
                    <a:pt x="746" y="1408"/>
                  </a:lnTo>
                  <a:lnTo>
                    <a:pt x="751" y="1389"/>
                  </a:lnTo>
                  <a:lnTo>
                    <a:pt x="753" y="1381"/>
                  </a:lnTo>
                  <a:lnTo>
                    <a:pt x="755" y="1371"/>
                  </a:lnTo>
                  <a:lnTo>
                    <a:pt x="756" y="1362"/>
                  </a:lnTo>
                  <a:lnTo>
                    <a:pt x="756" y="1351"/>
                  </a:lnTo>
                  <a:lnTo>
                    <a:pt x="755" y="1342"/>
                  </a:lnTo>
                  <a:lnTo>
                    <a:pt x="753" y="1333"/>
                  </a:lnTo>
                  <a:lnTo>
                    <a:pt x="749" y="1323"/>
                  </a:lnTo>
                  <a:lnTo>
                    <a:pt x="743" y="1314"/>
                  </a:lnTo>
                  <a:lnTo>
                    <a:pt x="738" y="1304"/>
                  </a:lnTo>
                  <a:lnTo>
                    <a:pt x="736" y="1297"/>
                  </a:lnTo>
                  <a:lnTo>
                    <a:pt x="736" y="1294"/>
                  </a:lnTo>
                  <a:lnTo>
                    <a:pt x="736" y="1291"/>
                  </a:lnTo>
                  <a:lnTo>
                    <a:pt x="737" y="1288"/>
                  </a:lnTo>
                  <a:lnTo>
                    <a:pt x="739" y="1285"/>
                  </a:lnTo>
                  <a:lnTo>
                    <a:pt x="743" y="1281"/>
                  </a:lnTo>
                  <a:lnTo>
                    <a:pt x="749" y="1278"/>
                  </a:lnTo>
                  <a:lnTo>
                    <a:pt x="756" y="1276"/>
                  </a:lnTo>
                  <a:lnTo>
                    <a:pt x="763" y="1274"/>
                  </a:lnTo>
                  <a:lnTo>
                    <a:pt x="779" y="1272"/>
                  </a:lnTo>
                  <a:lnTo>
                    <a:pt x="795" y="1272"/>
                  </a:lnTo>
                  <a:lnTo>
                    <a:pt x="805" y="1272"/>
                  </a:lnTo>
                  <a:lnTo>
                    <a:pt x="810" y="1273"/>
                  </a:lnTo>
                  <a:lnTo>
                    <a:pt x="814" y="1263"/>
                  </a:lnTo>
                  <a:lnTo>
                    <a:pt x="827" y="1241"/>
                  </a:lnTo>
                  <a:lnTo>
                    <a:pt x="838" y="1227"/>
                  </a:lnTo>
                  <a:lnTo>
                    <a:pt x="853" y="1211"/>
                  </a:lnTo>
                  <a:lnTo>
                    <a:pt x="861" y="1202"/>
                  </a:lnTo>
                  <a:lnTo>
                    <a:pt x="870" y="1194"/>
                  </a:lnTo>
                  <a:lnTo>
                    <a:pt x="881" y="1186"/>
                  </a:lnTo>
                  <a:lnTo>
                    <a:pt x="892" y="1177"/>
                  </a:lnTo>
                  <a:lnTo>
                    <a:pt x="912" y="1162"/>
                  </a:lnTo>
                  <a:lnTo>
                    <a:pt x="928" y="1150"/>
                  </a:lnTo>
                  <a:lnTo>
                    <a:pt x="938" y="1140"/>
                  </a:lnTo>
                  <a:lnTo>
                    <a:pt x="945" y="1132"/>
                  </a:lnTo>
                  <a:lnTo>
                    <a:pt x="949" y="1125"/>
                  </a:lnTo>
                  <a:lnTo>
                    <a:pt x="952" y="1117"/>
                  </a:lnTo>
                  <a:lnTo>
                    <a:pt x="955" y="1108"/>
                  </a:lnTo>
                  <a:lnTo>
                    <a:pt x="959" y="1097"/>
                  </a:lnTo>
                  <a:lnTo>
                    <a:pt x="963" y="1091"/>
                  </a:lnTo>
                  <a:lnTo>
                    <a:pt x="970" y="1084"/>
                  </a:lnTo>
                  <a:lnTo>
                    <a:pt x="980" y="1076"/>
                  </a:lnTo>
                  <a:lnTo>
                    <a:pt x="990" y="1069"/>
                  </a:lnTo>
                  <a:lnTo>
                    <a:pt x="1017" y="1052"/>
                  </a:lnTo>
                  <a:lnTo>
                    <a:pt x="1048" y="1036"/>
                  </a:lnTo>
                  <a:lnTo>
                    <a:pt x="1077" y="1022"/>
                  </a:lnTo>
                  <a:lnTo>
                    <a:pt x="1102" y="1010"/>
                  </a:lnTo>
                  <a:lnTo>
                    <a:pt x="1120" y="1002"/>
                  </a:lnTo>
                  <a:lnTo>
                    <a:pt x="1128" y="999"/>
                  </a:lnTo>
                  <a:lnTo>
                    <a:pt x="1132" y="1000"/>
                  </a:lnTo>
                  <a:lnTo>
                    <a:pt x="1143" y="1000"/>
                  </a:lnTo>
                  <a:lnTo>
                    <a:pt x="1162" y="1000"/>
                  </a:lnTo>
                  <a:lnTo>
                    <a:pt x="1186" y="999"/>
                  </a:lnTo>
                  <a:lnTo>
                    <a:pt x="1216" y="997"/>
                  </a:lnTo>
                  <a:lnTo>
                    <a:pt x="1247" y="992"/>
                  </a:lnTo>
                  <a:lnTo>
                    <a:pt x="1265" y="989"/>
                  </a:lnTo>
                  <a:lnTo>
                    <a:pt x="1282" y="986"/>
                  </a:lnTo>
                  <a:lnTo>
                    <a:pt x="1300" y="982"/>
                  </a:lnTo>
                  <a:lnTo>
                    <a:pt x="1318" y="977"/>
                  </a:lnTo>
                  <a:lnTo>
                    <a:pt x="1350" y="966"/>
                  </a:lnTo>
                  <a:lnTo>
                    <a:pt x="1378" y="957"/>
                  </a:lnTo>
                  <a:lnTo>
                    <a:pt x="1403" y="948"/>
                  </a:lnTo>
                  <a:lnTo>
                    <a:pt x="1424" y="941"/>
                  </a:lnTo>
                  <a:lnTo>
                    <a:pt x="1444" y="935"/>
                  </a:lnTo>
                  <a:lnTo>
                    <a:pt x="1462" y="930"/>
                  </a:lnTo>
                  <a:lnTo>
                    <a:pt x="1481" y="927"/>
                  </a:lnTo>
                  <a:lnTo>
                    <a:pt x="1501" y="926"/>
                  </a:lnTo>
                  <a:lnTo>
                    <a:pt x="1512" y="925"/>
                  </a:lnTo>
                  <a:lnTo>
                    <a:pt x="1520" y="924"/>
                  </a:lnTo>
                  <a:lnTo>
                    <a:pt x="1528" y="922"/>
                  </a:lnTo>
                  <a:lnTo>
                    <a:pt x="1533" y="919"/>
                  </a:lnTo>
                  <a:lnTo>
                    <a:pt x="1538" y="916"/>
                  </a:lnTo>
                  <a:lnTo>
                    <a:pt x="1541" y="911"/>
                  </a:lnTo>
                  <a:lnTo>
                    <a:pt x="1544" y="906"/>
                  </a:lnTo>
                  <a:lnTo>
                    <a:pt x="1546" y="901"/>
                  </a:lnTo>
                  <a:lnTo>
                    <a:pt x="1547" y="896"/>
                  </a:lnTo>
                  <a:lnTo>
                    <a:pt x="1547" y="889"/>
                  </a:lnTo>
                  <a:lnTo>
                    <a:pt x="1547" y="883"/>
                  </a:lnTo>
                  <a:lnTo>
                    <a:pt x="1547" y="877"/>
                  </a:lnTo>
                  <a:lnTo>
                    <a:pt x="1545" y="863"/>
                  </a:lnTo>
                  <a:lnTo>
                    <a:pt x="1543" y="850"/>
                  </a:lnTo>
                  <a:lnTo>
                    <a:pt x="1542" y="844"/>
                  </a:lnTo>
                  <a:lnTo>
                    <a:pt x="1543" y="839"/>
                  </a:lnTo>
                  <a:lnTo>
                    <a:pt x="1545" y="835"/>
                  </a:lnTo>
                  <a:lnTo>
                    <a:pt x="1547" y="832"/>
                  </a:lnTo>
                  <a:lnTo>
                    <a:pt x="1552" y="830"/>
                  </a:lnTo>
                  <a:lnTo>
                    <a:pt x="1556" y="827"/>
                  </a:lnTo>
                  <a:lnTo>
                    <a:pt x="1560" y="826"/>
                  </a:lnTo>
                  <a:lnTo>
                    <a:pt x="1565" y="824"/>
                  </a:lnTo>
                  <a:lnTo>
                    <a:pt x="1577" y="822"/>
                  </a:lnTo>
                  <a:lnTo>
                    <a:pt x="1587" y="818"/>
                  </a:lnTo>
                  <a:lnTo>
                    <a:pt x="1593" y="816"/>
                  </a:lnTo>
                  <a:lnTo>
                    <a:pt x="1598" y="812"/>
                  </a:lnTo>
                  <a:lnTo>
                    <a:pt x="1603" y="807"/>
                  </a:lnTo>
                  <a:lnTo>
                    <a:pt x="1606" y="802"/>
                  </a:lnTo>
                  <a:lnTo>
                    <a:pt x="1609" y="796"/>
                  </a:lnTo>
                  <a:lnTo>
                    <a:pt x="1613" y="789"/>
                  </a:lnTo>
                  <a:lnTo>
                    <a:pt x="1615" y="781"/>
                  </a:lnTo>
                  <a:lnTo>
                    <a:pt x="1616" y="773"/>
                  </a:lnTo>
                  <a:lnTo>
                    <a:pt x="1618" y="755"/>
                  </a:lnTo>
                  <a:lnTo>
                    <a:pt x="1619" y="736"/>
                  </a:lnTo>
                  <a:lnTo>
                    <a:pt x="1620" y="716"/>
                  </a:lnTo>
                  <a:lnTo>
                    <a:pt x="1621" y="696"/>
                  </a:lnTo>
                  <a:lnTo>
                    <a:pt x="1624" y="675"/>
                  </a:lnTo>
                  <a:lnTo>
                    <a:pt x="1628" y="656"/>
                  </a:lnTo>
                  <a:lnTo>
                    <a:pt x="1632" y="647"/>
                  </a:lnTo>
                  <a:lnTo>
                    <a:pt x="1636" y="637"/>
                  </a:lnTo>
                  <a:lnTo>
                    <a:pt x="1641" y="628"/>
                  </a:lnTo>
                  <a:lnTo>
                    <a:pt x="1645" y="618"/>
                  </a:lnTo>
                  <a:lnTo>
                    <a:pt x="1657" y="601"/>
                  </a:lnTo>
                  <a:lnTo>
                    <a:pt x="1669" y="583"/>
                  </a:lnTo>
                  <a:lnTo>
                    <a:pt x="1683" y="567"/>
                  </a:lnTo>
                  <a:lnTo>
                    <a:pt x="1697" y="552"/>
                  </a:lnTo>
                  <a:lnTo>
                    <a:pt x="1710" y="540"/>
                  </a:lnTo>
                  <a:lnTo>
                    <a:pt x="1724" y="529"/>
                  </a:lnTo>
                  <a:lnTo>
                    <a:pt x="1737" y="521"/>
                  </a:lnTo>
                  <a:lnTo>
                    <a:pt x="1750" y="516"/>
                  </a:lnTo>
                  <a:lnTo>
                    <a:pt x="1762" y="511"/>
                  </a:lnTo>
                  <a:lnTo>
                    <a:pt x="1772" y="510"/>
                  </a:lnTo>
                  <a:lnTo>
                    <a:pt x="1788" y="509"/>
                  </a:lnTo>
                  <a:lnTo>
                    <a:pt x="1794" y="510"/>
                  </a:lnTo>
                  <a:lnTo>
                    <a:pt x="1801" y="508"/>
                  </a:lnTo>
                  <a:lnTo>
                    <a:pt x="1824" y="504"/>
                  </a:lnTo>
                  <a:lnTo>
                    <a:pt x="1809" y="503"/>
                  </a:lnTo>
                  <a:lnTo>
                    <a:pt x="1797" y="504"/>
                  </a:lnTo>
                  <a:lnTo>
                    <a:pt x="1796" y="496"/>
                  </a:lnTo>
                  <a:lnTo>
                    <a:pt x="1794" y="476"/>
                  </a:lnTo>
                  <a:lnTo>
                    <a:pt x="1792" y="463"/>
                  </a:lnTo>
                  <a:lnTo>
                    <a:pt x="1789" y="451"/>
                  </a:lnTo>
                  <a:lnTo>
                    <a:pt x="1786" y="440"/>
                  </a:lnTo>
                  <a:lnTo>
                    <a:pt x="1782" y="430"/>
                  </a:lnTo>
                  <a:lnTo>
                    <a:pt x="1777" y="423"/>
                  </a:lnTo>
                  <a:lnTo>
                    <a:pt x="1774" y="417"/>
                  </a:lnTo>
                  <a:lnTo>
                    <a:pt x="1772" y="411"/>
                  </a:lnTo>
                  <a:lnTo>
                    <a:pt x="1772" y="405"/>
                  </a:lnTo>
                  <a:lnTo>
                    <a:pt x="1772" y="399"/>
                  </a:lnTo>
                  <a:lnTo>
                    <a:pt x="1774" y="392"/>
                  </a:lnTo>
                  <a:lnTo>
                    <a:pt x="1777" y="382"/>
                  </a:lnTo>
                  <a:lnTo>
                    <a:pt x="1782" y="371"/>
                  </a:lnTo>
                  <a:lnTo>
                    <a:pt x="1785" y="363"/>
                  </a:lnTo>
                  <a:lnTo>
                    <a:pt x="1789" y="357"/>
                  </a:lnTo>
                  <a:lnTo>
                    <a:pt x="1794" y="352"/>
                  </a:lnTo>
                  <a:lnTo>
                    <a:pt x="1800" y="345"/>
                  </a:lnTo>
                  <a:lnTo>
                    <a:pt x="1816" y="335"/>
                  </a:lnTo>
                  <a:lnTo>
                    <a:pt x="1832" y="325"/>
                  </a:lnTo>
                  <a:lnTo>
                    <a:pt x="1860" y="312"/>
                  </a:lnTo>
                  <a:lnTo>
                    <a:pt x="1873" y="307"/>
                  </a:lnTo>
                  <a:lnTo>
                    <a:pt x="1876" y="227"/>
                  </a:lnTo>
                  <a:close/>
                  <a:moveTo>
                    <a:pt x="318" y="1097"/>
                  </a:moveTo>
                  <a:lnTo>
                    <a:pt x="321" y="1124"/>
                  </a:lnTo>
                  <a:lnTo>
                    <a:pt x="301" y="1149"/>
                  </a:lnTo>
                  <a:lnTo>
                    <a:pt x="272" y="1165"/>
                  </a:lnTo>
                  <a:lnTo>
                    <a:pt x="246" y="1175"/>
                  </a:lnTo>
                  <a:lnTo>
                    <a:pt x="220" y="1191"/>
                  </a:lnTo>
                  <a:lnTo>
                    <a:pt x="202" y="1165"/>
                  </a:lnTo>
                  <a:lnTo>
                    <a:pt x="207" y="1136"/>
                  </a:lnTo>
                  <a:lnTo>
                    <a:pt x="212" y="1110"/>
                  </a:lnTo>
                  <a:lnTo>
                    <a:pt x="215" y="1082"/>
                  </a:lnTo>
                  <a:lnTo>
                    <a:pt x="244" y="1082"/>
                  </a:lnTo>
                  <a:lnTo>
                    <a:pt x="269" y="1079"/>
                  </a:lnTo>
                  <a:lnTo>
                    <a:pt x="297" y="1085"/>
                  </a:lnTo>
                  <a:lnTo>
                    <a:pt x="318" y="1097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77" name="Freeform 45"/>
            <p:cNvSpPr>
              <a:spLocks noEditPoints="1"/>
            </p:cNvSpPr>
            <p:nvPr/>
          </p:nvSpPr>
          <p:spPr bwMode="auto">
            <a:xfrm>
              <a:off x="3228457" y="2315537"/>
              <a:ext cx="1037170" cy="889001"/>
            </a:xfrm>
            <a:custGeom>
              <a:avLst/>
              <a:gdLst>
                <a:gd name="T0" fmla="*/ 2147483647 w 1762"/>
                <a:gd name="T1" fmla="*/ 2147483647 h 1514"/>
                <a:gd name="T2" fmla="*/ 2147483647 w 1762"/>
                <a:gd name="T3" fmla="*/ 2147483647 h 1514"/>
                <a:gd name="T4" fmla="*/ 2147483647 w 1762"/>
                <a:gd name="T5" fmla="*/ 2147483647 h 1514"/>
                <a:gd name="T6" fmla="*/ 2147483647 w 1762"/>
                <a:gd name="T7" fmla="*/ 2147483647 h 1514"/>
                <a:gd name="T8" fmla="*/ 2147483647 w 1762"/>
                <a:gd name="T9" fmla="*/ 2147483647 h 1514"/>
                <a:gd name="T10" fmla="*/ 2147483647 w 1762"/>
                <a:gd name="T11" fmla="*/ 2147483647 h 1514"/>
                <a:gd name="T12" fmla="*/ 2147483647 w 1762"/>
                <a:gd name="T13" fmla="*/ 2147483647 h 1514"/>
                <a:gd name="T14" fmla="*/ 2147483647 w 1762"/>
                <a:gd name="T15" fmla="*/ 2147483647 h 1514"/>
                <a:gd name="T16" fmla="*/ 2147483647 w 1762"/>
                <a:gd name="T17" fmla="*/ 2147483647 h 1514"/>
                <a:gd name="T18" fmla="*/ 2147483647 w 1762"/>
                <a:gd name="T19" fmla="*/ 2147483647 h 1514"/>
                <a:gd name="T20" fmla="*/ 2147483647 w 1762"/>
                <a:gd name="T21" fmla="*/ 2147483647 h 1514"/>
                <a:gd name="T22" fmla="*/ 2147483647 w 1762"/>
                <a:gd name="T23" fmla="*/ 2147483647 h 1514"/>
                <a:gd name="T24" fmla="*/ 2147483647 w 1762"/>
                <a:gd name="T25" fmla="*/ 2147483647 h 1514"/>
                <a:gd name="T26" fmla="*/ 2147483647 w 1762"/>
                <a:gd name="T27" fmla="*/ 2147483647 h 1514"/>
                <a:gd name="T28" fmla="*/ 2147483647 w 1762"/>
                <a:gd name="T29" fmla="*/ 2147483647 h 1514"/>
                <a:gd name="T30" fmla="*/ 2147483647 w 1762"/>
                <a:gd name="T31" fmla="*/ 2147483647 h 1514"/>
                <a:gd name="T32" fmla="*/ 2147483647 w 1762"/>
                <a:gd name="T33" fmla="*/ 2147483647 h 1514"/>
                <a:gd name="T34" fmla="*/ 2147483647 w 1762"/>
                <a:gd name="T35" fmla="*/ 2147483647 h 1514"/>
                <a:gd name="T36" fmla="*/ 2147483647 w 1762"/>
                <a:gd name="T37" fmla="*/ 2147483647 h 1514"/>
                <a:gd name="T38" fmla="*/ 2147483647 w 1762"/>
                <a:gd name="T39" fmla="*/ 2147483647 h 1514"/>
                <a:gd name="T40" fmla="*/ 2147483647 w 1762"/>
                <a:gd name="T41" fmla="*/ 2147483647 h 1514"/>
                <a:gd name="T42" fmla="*/ 2147483647 w 1762"/>
                <a:gd name="T43" fmla="*/ 2147483647 h 1514"/>
                <a:gd name="T44" fmla="*/ 2147483647 w 1762"/>
                <a:gd name="T45" fmla="*/ 2147483647 h 1514"/>
                <a:gd name="T46" fmla="*/ 2147483647 w 1762"/>
                <a:gd name="T47" fmla="*/ 2147483647 h 1514"/>
                <a:gd name="T48" fmla="*/ 2147483647 w 1762"/>
                <a:gd name="T49" fmla="*/ 2147483647 h 1514"/>
                <a:gd name="T50" fmla="*/ 2147483647 w 1762"/>
                <a:gd name="T51" fmla="*/ 2147483647 h 1514"/>
                <a:gd name="T52" fmla="*/ 2147483647 w 1762"/>
                <a:gd name="T53" fmla="*/ 2147483647 h 1514"/>
                <a:gd name="T54" fmla="*/ 2147483647 w 1762"/>
                <a:gd name="T55" fmla="*/ 2147483647 h 1514"/>
                <a:gd name="T56" fmla="*/ 2147483647 w 1762"/>
                <a:gd name="T57" fmla="*/ 2147483647 h 1514"/>
                <a:gd name="T58" fmla="*/ 2147483647 w 1762"/>
                <a:gd name="T59" fmla="*/ 2147483647 h 1514"/>
                <a:gd name="T60" fmla="*/ 2147483647 w 1762"/>
                <a:gd name="T61" fmla="*/ 2147483647 h 1514"/>
                <a:gd name="T62" fmla="*/ 2147483647 w 1762"/>
                <a:gd name="T63" fmla="*/ 2147483647 h 1514"/>
                <a:gd name="T64" fmla="*/ 2147483647 w 1762"/>
                <a:gd name="T65" fmla="*/ 2147483647 h 1514"/>
                <a:gd name="T66" fmla="*/ 2147483647 w 1762"/>
                <a:gd name="T67" fmla="*/ 2147483647 h 1514"/>
                <a:gd name="T68" fmla="*/ 2147483647 w 1762"/>
                <a:gd name="T69" fmla="*/ 2147483647 h 1514"/>
                <a:gd name="T70" fmla="*/ 2147483647 w 1762"/>
                <a:gd name="T71" fmla="*/ 2147483647 h 1514"/>
                <a:gd name="T72" fmla="*/ 2147483647 w 1762"/>
                <a:gd name="T73" fmla="*/ 2147483647 h 1514"/>
                <a:gd name="T74" fmla="*/ 2147483647 w 1762"/>
                <a:gd name="T75" fmla="*/ 2147483647 h 1514"/>
                <a:gd name="T76" fmla="*/ 2147483647 w 1762"/>
                <a:gd name="T77" fmla="*/ 2147483647 h 1514"/>
                <a:gd name="T78" fmla="*/ 2147483647 w 1762"/>
                <a:gd name="T79" fmla="*/ 2147483647 h 1514"/>
                <a:gd name="T80" fmla="*/ 2147483647 w 1762"/>
                <a:gd name="T81" fmla="*/ 2147483647 h 1514"/>
                <a:gd name="T82" fmla="*/ 2147483647 w 1762"/>
                <a:gd name="T83" fmla="*/ 2147483647 h 1514"/>
                <a:gd name="T84" fmla="*/ 2147483647 w 1762"/>
                <a:gd name="T85" fmla="*/ 2147483647 h 1514"/>
                <a:gd name="T86" fmla="*/ 2147483647 w 1762"/>
                <a:gd name="T87" fmla="*/ 2147483647 h 1514"/>
                <a:gd name="T88" fmla="*/ 2147483647 w 1762"/>
                <a:gd name="T89" fmla="*/ 2147483647 h 1514"/>
                <a:gd name="T90" fmla="*/ 2147483647 w 1762"/>
                <a:gd name="T91" fmla="*/ 2147483647 h 1514"/>
                <a:gd name="T92" fmla="*/ 2147483647 w 1762"/>
                <a:gd name="T93" fmla="*/ 2147483647 h 1514"/>
                <a:gd name="T94" fmla="*/ 2147483647 w 1762"/>
                <a:gd name="T95" fmla="*/ 2147483647 h 1514"/>
                <a:gd name="T96" fmla="*/ 2147483647 w 1762"/>
                <a:gd name="T97" fmla="*/ 2147483647 h 1514"/>
                <a:gd name="T98" fmla="*/ 2147483647 w 1762"/>
                <a:gd name="T99" fmla="*/ 2147483647 h 1514"/>
                <a:gd name="T100" fmla="*/ 2147483647 w 1762"/>
                <a:gd name="T101" fmla="*/ 2147483647 h 1514"/>
                <a:gd name="T102" fmla="*/ 2147483647 w 1762"/>
                <a:gd name="T103" fmla="*/ 2147483647 h 1514"/>
                <a:gd name="T104" fmla="*/ 2147483647 w 1762"/>
                <a:gd name="T105" fmla="*/ 2147483647 h 1514"/>
                <a:gd name="T106" fmla="*/ 2147483647 w 1762"/>
                <a:gd name="T107" fmla="*/ 2147483647 h 1514"/>
                <a:gd name="T108" fmla="*/ 2147483647 w 1762"/>
                <a:gd name="T109" fmla="*/ 2147483647 h 1514"/>
                <a:gd name="T110" fmla="*/ 2147483647 w 1762"/>
                <a:gd name="T111" fmla="*/ 2147483647 h 1514"/>
                <a:gd name="T112" fmla="*/ 2147483647 w 1762"/>
                <a:gd name="T113" fmla="*/ 2147483647 h 1514"/>
                <a:gd name="T114" fmla="*/ 2147483647 w 1762"/>
                <a:gd name="T115" fmla="*/ 2147483647 h 1514"/>
                <a:gd name="T116" fmla="*/ 2147483647 w 1762"/>
                <a:gd name="T117" fmla="*/ 2147483647 h 1514"/>
                <a:gd name="T118" fmla="*/ 2147483647 w 1762"/>
                <a:gd name="T119" fmla="*/ 2147483647 h 151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762" h="1514">
                  <a:moveTo>
                    <a:pt x="52" y="1273"/>
                  </a:moveTo>
                  <a:lnTo>
                    <a:pt x="26" y="1293"/>
                  </a:lnTo>
                  <a:lnTo>
                    <a:pt x="0" y="1304"/>
                  </a:lnTo>
                  <a:lnTo>
                    <a:pt x="18" y="1330"/>
                  </a:lnTo>
                  <a:lnTo>
                    <a:pt x="47" y="1348"/>
                  </a:lnTo>
                  <a:lnTo>
                    <a:pt x="72" y="1345"/>
                  </a:lnTo>
                  <a:lnTo>
                    <a:pt x="100" y="1335"/>
                  </a:lnTo>
                  <a:lnTo>
                    <a:pt x="127" y="1320"/>
                  </a:lnTo>
                  <a:lnTo>
                    <a:pt x="155" y="1304"/>
                  </a:lnTo>
                  <a:lnTo>
                    <a:pt x="181" y="1291"/>
                  </a:lnTo>
                  <a:lnTo>
                    <a:pt x="206" y="1288"/>
                  </a:lnTo>
                  <a:lnTo>
                    <a:pt x="233" y="1291"/>
                  </a:lnTo>
                  <a:lnTo>
                    <a:pt x="259" y="1314"/>
                  </a:lnTo>
                  <a:lnTo>
                    <a:pt x="287" y="1314"/>
                  </a:lnTo>
                  <a:lnTo>
                    <a:pt x="312" y="1299"/>
                  </a:lnTo>
                  <a:lnTo>
                    <a:pt x="316" y="1272"/>
                  </a:lnTo>
                  <a:lnTo>
                    <a:pt x="321" y="1244"/>
                  </a:lnTo>
                  <a:lnTo>
                    <a:pt x="339" y="1270"/>
                  </a:lnTo>
                  <a:lnTo>
                    <a:pt x="349" y="1297"/>
                  </a:lnTo>
                  <a:lnTo>
                    <a:pt x="365" y="1322"/>
                  </a:lnTo>
                  <a:lnTo>
                    <a:pt x="367" y="1350"/>
                  </a:lnTo>
                  <a:lnTo>
                    <a:pt x="362" y="1380"/>
                  </a:lnTo>
                  <a:lnTo>
                    <a:pt x="365" y="1405"/>
                  </a:lnTo>
                  <a:lnTo>
                    <a:pt x="370" y="1431"/>
                  </a:lnTo>
                  <a:lnTo>
                    <a:pt x="372" y="1457"/>
                  </a:lnTo>
                  <a:lnTo>
                    <a:pt x="365" y="1486"/>
                  </a:lnTo>
                  <a:lnTo>
                    <a:pt x="372" y="1511"/>
                  </a:lnTo>
                  <a:lnTo>
                    <a:pt x="398" y="1514"/>
                  </a:lnTo>
                  <a:lnTo>
                    <a:pt x="427" y="1491"/>
                  </a:lnTo>
                  <a:lnTo>
                    <a:pt x="452" y="1465"/>
                  </a:lnTo>
                  <a:lnTo>
                    <a:pt x="478" y="1442"/>
                  </a:lnTo>
                  <a:lnTo>
                    <a:pt x="507" y="1428"/>
                  </a:lnTo>
                  <a:lnTo>
                    <a:pt x="533" y="1426"/>
                  </a:lnTo>
                  <a:lnTo>
                    <a:pt x="558" y="1433"/>
                  </a:lnTo>
                  <a:lnTo>
                    <a:pt x="587" y="1452"/>
                  </a:lnTo>
                  <a:lnTo>
                    <a:pt x="613" y="1470"/>
                  </a:lnTo>
                  <a:lnTo>
                    <a:pt x="630" y="1463"/>
                  </a:lnTo>
                  <a:lnTo>
                    <a:pt x="657" y="1459"/>
                  </a:lnTo>
                  <a:lnTo>
                    <a:pt x="685" y="1436"/>
                  </a:lnTo>
                  <a:lnTo>
                    <a:pt x="711" y="1418"/>
                  </a:lnTo>
                  <a:lnTo>
                    <a:pt x="736" y="1403"/>
                  </a:lnTo>
                  <a:lnTo>
                    <a:pt x="766" y="1387"/>
                  </a:lnTo>
                  <a:lnTo>
                    <a:pt x="761" y="1359"/>
                  </a:lnTo>
                  <a:lnTo>
                    <a:pt x="770" y="1332"/>
                  </a:lnTo>
                  <a:lnTo>
                    <a:pt x="791" y="1307"/>
                  </a:lnTo>
                  <a:lnTo>
                    <a:pt x="819" y="1332"/>
                  </a:lnTo>
                  <a:lnTo>
                    <a:pt x="846" y="1343"/>
                  </a:lnTo>
                  <a:lnTo>
                    <a:pt x="858" y="1371"/>
                  </a:lnTo>
                  <a:lnTo>
                    <a:pt x="884" y="1392"/>
                  </a:lnTo>
                  <a:lnTo>
                    <a:pt x="913" y="1405"/>
                  </a:lnTo>
                  <a:lnTo>
                    <a:pt x="939" y="1387"/>
                  </a:lnTo>
                  <a:lnTo>
                    <a:pt x="967" y="1376"/>
                  </a:lnTo>
                  <a:lnTo>
                    <a:pt x="993" y="1374"/>
                  </a:lnTo>
                  <a:lnTo>
                    <a:pt x="1006" y="1403"/>
                  </a:lnTo>
                  <a:lnTo>
                    <a:pt x="1006" y="1428"/>
                  </a:lnTo>
                  <a:lnTo>
                    <a:pt x="998" y="1454"/>
                  </a:lnTo>
                  <a:lnTo>
                    <a:pt x="1014" y="1482"/>
                  </a:lnTo>
                  <a:lnTo>
                    <a:pt x="1040" y="1482"/>
                  </a:lnTo>
                  <a:lnTo>
                    <a:pt x="1068" y="1477"/>
                  </a:lnTo>
                  <a:lnTo>
                    <a:pt x="1093" y="1465"/>
                  </a:lnTo>
                  <a:lnTo>
                    <a:pt x="1123" y="1452"/>
                  </a:lnTo>
                  <a:lnTo>
                    <a:pt x="1148" y="1438"/>
                  </a:lnTo>
                  <a:lnTo>
                    <a:pt x="1164" y="1413"/>
                  </a:lnTo>
                  <a:lnTo>
                    <a:pt x="1169" y="1387"/>
                  </a:lnTo>
                  <a:lnTo>
                    <a:pt x="1171" y="1385"/>
                  </a:lnTo>
                  <a:lnTo>
                    <a:pt x="1171" y="1410"/>
                  </a:lnTo>
                  <a:lnTo>
                    <a:pt x="1166" y="1438"/>
                  </a:lnTo>
                  <a:lnTo>
                    <a:pt x="1194" y="1449"/>
                  </a:lnTo>
                  <a:lnTo>
                    <a:pt x="1220" y="1436"/>
                  </a:lnTo>
                  <a:lnTo>
                    <a:pt x="1241" y="1410"/>
                  </a:lnTo>
                  <a:lnTo>
                    <a:pt x="1244" y="1407"/>
                  </a:lnTo>
                  <a:lnTo>
                    <a:pt x="1254" y="1390"/>
                  </a:lnTo>
                  <a:lnTo>
                    <a:pt x="1253" y="1386"/>
                  </a:lnTo>
                  <a:lnTo>
                    <a:pt x="1252" y="1375"/>
                  </a:lnTo>
                  <a:lnTo>
                    <a:pt x="1251" y="1368"/>
                  </a:lnTo>
                  <a:lnTo>
                    <a:pt x="1251" y="1360"/>
                  </a:lnTo>
                  <a:lnTo>
                    <a:pt x="1252" y="1351"/>
                  </a:lnTo>
                  <a:lnTo>
                    <a:pt x="1253" y="1341"/>
                  </a:lnTo>
                  <a:lnTo>
                    <a:pt x="1255" y="1330"/>
                  </a:lnTo>
                  <a:lnTo>
                    <a:pt x="1259" y="1320"/>
                  </a:lnTo>
                  <a:lnTo>
                    <a:pt x="1263" y="1309"/>
                  </a:lnTo>
                  <a:lnTo>
                    <a:pt x="1270" y="1299"/>
                  </a:lnTo>
                  <a:lnTo>
                    <a:pt x="1278" y="1289"/>
                  </a:lnTo>
                  <a:lnTo>
                    <a:pt x="1287" y="1280"/>
                  </a:lnTo>
                  <a:lnTo>
                    <a:pt x="1300" y="1270"/>
                  </a:lnTo>
                  <a:lnTo>
                    <a:pt x="1314" y="1263"/>
                  </a:lnTo>
                  <a:lnTo>
                    <a:pt x="1362" y="1242"/>
                  </a:lnTo>
                  <a:lnTo>
                    <a:pt x="1387" y="1229"/>
                  </a:lnTo>
                  <a:lnTo>
                    <a:pt x="1390" y="1227"/>
                  </a:lnTo>
                  <a:lnTo>
                    <a:pt x="1393" y="1224"/>
                  </a:lnTo>
                  <a:lnTo>
                    <a:pt x="1397" y="1221"/>
                  </a:lnTo>
                  <a:lnTo>
                    <a:pt x="1398" y="1218"/>
                  </a:lnTo>
                  <a:lnTo>
                    <a:pt x="1401" y="1208"/>
                  </a:lnTo>
                  <a:lnTo>
                    <a:pt x="1403" y="1197"/>
                  </a:lnTo>
                  <a:lnTo>
                    <a:pt x="1405" y="1189"/>
                  </a:lnTo>
                  <a:lnTo>
                    <a:pt x="1407" y="1184"/>
                  </a:lnTo>
                  <a:lnTo>
                    <a:pt x="1410" y="1180"/>
                  </a:lnTo>
                  <a:lnTo>
                    <a:pt x="1413" y="1177"/>
                  </a:lnTo>
                  <a:lnTo>
                    <a:pt x="1422" y="1172"/>
                  </a:lnTo>
                  <a:lnTo>
                    <a:pt x="1431" y="1166"/>
                  </a:lnTo>
                  <a:lnTo>
                    <a:pt x="1435" y="1164"/>
                  </a:lnTo>
                  <a:lnTo>
                    <a:pt x="1440" y="1162"/>
                  </a:lnTo>
                  <a:lnTo>
                    <a:pt x="1443" y="1159"/>
                  </a:lnTo>
                  <a:lnTo>
                    <a:pt x="1445" y="1155"/>
                  </a:lnTo>
                  <a:lnTo>
                    <a:pt x="1447" y="1151"/>
                  </a:lnTo>
                  <a:lnTo>
                    <a:pt x="1448" y="1144"/>
                  </a:lnTo>
                  <a:lnTo>
                    <a:pt x="1448" y="1138"/>
                  </a:lnTo>
                  <a:lnTo>
                    <a:pt x="1447" y="1130"/>
                  </a:lnTo>
                  <a:lnTo>
                    <a:pt x="1439" y="1098"/>
                  </a:lnTo>
                  <a:lnTo>
                    <a:pt x="1433" y="1074"/>
                  </a:lnTo>
                  <a:lnTo>
                    <a:pt x="1434" y="1070"/>
                  </a:lnTo>
                  <a:lnTo>
                    <a:pt x="1435" y="1065"/>
                  </a:lnTo>
                  <a:lnTo>
                    <a:pt x="1439" y="1061"/>
                  </a:lnTo>
                  <a:lnTo>
                    <a:pt x="1442" y="1057"/>
                  </a:lnTo>
                  <a:lnTo>
                    <a:pt x="1447" y="1054"/>
                  </a:lnTo>
                  <a:lnTo>
                    <a:pt x="1454" y="1052"/>
                  </a:lnTo>
                  <a:lnTo>
                    <a:pt x="1463" y="1049"/>
                  </a:lnTo>
                  <a:lnTo>
                    <a:pt x="1473" y="1047"/>
                  </a:lnTo>
                  <a:lnTo>
                    <a:pt x="1494" y="1045"/>
                  </a:lnTo>
                  <a:lnTo>
                    <a:pt x="1514" y="1041"/>
                  </a:lnTo>
                  <a:lnTo>
                    <a:pt x="1532" y="1038"/>
                  </a:lnTo>
                  <a:lnTo>
                    <a:pt x="1548" y="1034"/>
                  </a:lnTo>
                  <a:lnTo>
                    <a:pt x="1555" y="1030"/>
                  </a:lnTo>
                  <a:lnTo>
                    <a:pt x="1562" y="1027"/>
                  </a:lnTo>
                  <a:lnTo>
                    <a:pt x="1569" y="1021"/>
                  </a:lnTo>
                  <a:lnTo>
                    <a:pt x="1575" y="1015"/>
                  </a:lnTo>
                  <a:lnTo>
                    <a:pt x="1581" y="1008"/>
                  </a:lnTo>
                  <a:lnTo>
                    <a:pt x="1587" y="999"/>
                  </a:lnTo>
                  <a:lnTo>
                    <a:pt x="1592" y="989"/>
                  </a:lnTo>
                  <a:lnTo>
                    <a:pt x="1597" y="977"/>
                  </a:lnTo>
                  <a:lnTo>
                    <a:pt x="1614" y="934"/>
                  </a:lnTo>
                  <a:lnTo>
                    <a:pt x="1628" y="903"/>
                  </a:lnTo>
                  <a:lnTo>
                    <a:pt x="1641" y="875"/>
                  </a:lnTo>
                  <a:lnTo>
                    <a:pt x="1657" y="847"/>
                  </a:lnTo>
                  <a:lnTo>
                    <a:pt x="1660" y="840"/>
                  </a:lnTo>
                  <a:lnTo>
                    <a:pt x="1663" y="832"/>
                  </a:lnTo>
                  <a:lnTo>
                    <a:pt x="1665" y="826"/>
                  </a:lnTo>
                  <a:lnTo>
                    <a:pt x="1666" y="820"/>
                  </a:lnTo>
                  <a:lnTo>
                    <a:pt x="1668" y="809"/>
                  </a:lnTo>
                  <a:lnTo>
                    <a:pt x="1671" y="799"/>
                  </a:lnTo>
                  <a:lnTo>
                    <a:pt x="1672" y="795"/>
                  </a:lnTo>
                  <a:lnTo>
                    <a:pt x="1674" y="790"/>
                  </a:lnTo>
                  <a:lnTo>
                    <a:pt x="1677" y="786"/>
                  </a:lnTo>
                  <a:lnTo>
                    <a:pt x="1680" y="782"/>
                  </a:lnTo>
                  <a:lnTo>
                    <a:pt x="1685" y="779"/>
                  </a:lnTo>
                  <a:lnTo>
                    <a:pt x="1691" y="775"/>
                  </a:lnTo>
                  <a:lnTo>
                    <a:pt x="1699" y="772"/>
                  </a:lnTo>
                  <a:lnTo>
                    <a:pt x="1707" y="767"/>
                  </a:lnTo>
                  <a:lnTo>
                    <a:pt x="1717" y="764"/>
                  </a:lnTo>
                  <a:lnTo>
                    <a:pt x="1725" y="760"/>
                  </a:lnTo>
                  <a:lnTo>
                    <a:pt x="1732" y="755"/>
                  </a:lnTo>
                  <a:lnTo>
                    <a:pt x="1739" y="751"/>
                  </a:lnTo>
                  <a:lnTo>
                    <a:pt x="1744" y="745"/>
                  </a:lnTo>
                  <a:lnTo>
                    <a:pt x="1748" y="740"/>
                  </a:lnTo>
                  <a:lnTo>
                    <a:pt x="1752" y="735"/>
                  </a:lnTo>
                  <a:lnTo>
                    <a:pt x="1755" y="731"/>
                  </a:lnTo>
                  <a:lnTo>
                    <a:pt x="1759" y="721"/>
                  </a:lnTo>
                  <a:lnTo>
                    <a:pt x="1761" y="714"/>
                  </a:lnTo>
                  <a:lnTo>
                    <a:pt x="1762" y="710"/>
                  </a:lnTo>
                  <a:lnTo>
                    <a:pt x="1762" y="707"/>
                  </a:lnTo>
                  <a:lnTo>
                    <a:pt x="1762" y="700"/>
                  </a:lnTo>
                  <a:lnTo>
                    <a:pt x="1761" y="682"/>
                  </a:lnTo>
                  <a:lnTo>
                    <a:pt x="1758" y="672"/>
                  </a:lnTo>
                  <a:lnTo>
                    <a:pt x="1752" y="659"/>
                  </a:lnTo>
                  <a:lnTo>
                    <a:pt x="1748" y="653"/>
                  </a:lnTo>
                  <a:lnTo>
                    <a:pt x="1744" y="647"/>
                  </a:lnTo>
                  <a:lnTo>
                    <a:pt x="1739" y="640"/>
                  </a:lnTo>
                  <a:lnTo>
                    <a:pt x="1734" y="634"/>
                  </a:lnTo>
                  <a:lnTo>
                    <a:pt x="1726" y="629"/>
                  </a:lnTo>
                  <a:lnTo>
                    <a:pt x="1719" y="623"/>
                  </a:lnTo>
                  <a:lnTo>
                    <a:pt x="1712" y="620"/>
                  </a:lnTo>
                  <a:lnTo>
                    <a:pt x="1703" y="616"/>
                  </a:lnTo>
                  <a:lnTo>
                    <a:pt x="1687" y="610"/>
                  </a:lnTo>
                  <a:lnTo>
                    <a:pt x="1672" y="602"/>
                  </a:lnTo>
                  <a:lnTo>
                    <a:pt x="1663" y="599"/>
                  </a:lnTo>
                  <a:lnTo>
                    <a:pt x="1657" y="595"/>
                  </a:lnTo>
                  <a:lnTo>
                    <a:pt x="1650" y="591"/>
                  </a:lnTo>
                  <a:lnTo>
                    <a:pt x="1643" y="586"/>
                  </a:lnTo>
                  <a:lnTo>
                    <a:pt x="1638" y="579"/>
                  </a:lnTo>
                  <a:lnTo>
                    <a:pt x="1634" y="572"/>
                  </a:lnTo>
                  <a:lnTo>
                    <a:pt x="1631" y="565"/>
                  </a:lnTo>
                  <a:lnTo>
                    <a:pt x="1629" y="555"/>
                  </a:lnTo>
                  <a:lnTo>
                    <a:pt x="1622" y="517"/>
                  </a:lnTo>
                  <a:lnTo>
                    <a:pt x="1618" y="489"/>
                  </a:lnTo>
                  <a:lnTo>
                    <a:pt x="1616" y="469"/>
                  </a:lnTo>
                  <a:lnTo>
                    <a:pt x="1616" y="463"/>
                  </a:lnTo>
                  <a:lnTo>
                    <a:pt x="1614" y="461"/>
                  </a:lnTo>
                  <a:lnTo>
                    <a:pt x="1609" y="456"/>
                  </a:lnTo>
                  <a:lnTo>
                    <a:pt x="1602" y="448"/>
                  </a:lnTo>
                  <a:lnTo>
                    <a:pt x="1595" y="438"/>
                  </a:lnTo>
                  <a:lnTo>
                    <a:pt x="1591" y="430"/>
                  </a:lnTo>
                  <a:lnTo>
                    <a:pt x="1588" y="423"/>
                  </a:lnTo>
                  <a:lnTo>
                    <a:pt x="1584" y="416"/>
                  </a:lnTo>
                  <a:lnTo>
                    <a:pt x="1582" y="406"/>
                  </a:lnTo>
                  <a:lnTo>
                    <a:pt x="1580" y="397"/>
                  </a:lnTo>
                  <a:lnTo>
                    <a:pt x="1579" y="387"/>
                  </a:lnTo>
                  <a:lnTo>
                    <a:pt x="1579" y="376"/>
                  </a:lnTo>
                  <a:lnTo>
                    <a:pt x="1580" y="364"/>
                  </a:lnTo>
                  <a:lnTo>
                    <a:pt x="1582" y="353"/>
                  </a:lnTo>
                  <a:lnTo>
                    <a:pt x="1583" y="340"/>
                  </a:lnTo>
                  <a:lnTo>
                    <a:pt x="1583" y="327"/>
                  </a:lnTo>
                  <a:lnTo>
                    <a:pt x="1583" y="316"/>
                  </a:lnTo>
                  <a:lnTo>
                    <a:pt x="1582" y="304"/>
                  </a:lnTo>
                  <a:lnTo>
                    <a:pt x="1581" y="293"/>
                  </a:lnTo>
                  <a:lnTo>
                    <a:pt x="1579" y="283"/>
                  </a:lnTo>
                  <a:lnTo>
                    <a:pt x="1577" y="274"/>
                  </a:lnTo>
                  <a:lnTo>
                    <a:pt x="1574" y="265"/>
                  </a:lnTo>
                  <a:lnTo>
                    <a:pt x="1571" y="258"/>
                  </a:lnTo>
                  <a:lnTo>
                    <a:pt x="1567" y="253"/>
                  </a:lnTo>
                  <a:lnTo>
                    <a:pt x="1562" y="250"/>
                  </a:lnTo>
                  <a:lnTo>
                    <a:pt x="1559" y="249"/>
                  </a:lnTo>
                  <a:lnTo>
                    <a:pt x="1557" y="247"/>
                  </a:lnTo>
                  <a:lnTo>
                    <a:pt x="1554" y="247"/>
                  </a:lnTo>
                  <a:lnTo>
                    <a:pt x="1552" y="249"/>
                  </a:lnTo>
                  <a:lnTo>
                    <a:pt x="1546" y="251"/>
                  </a:lnTo>
                  <a:lnTo>
                    <a:pt x="1539" y="256"/>
                  </a:lnTo>
                  <a:lnTo>
                    <a:pt x="1526" y="270"/>
                  </a:lnTo>
                  <a:lnTo>
                    <a:pt x="1511" y="282"/>
                  </a:lnTo>
                  <a:lnTo>
                    <a:pt x="1505" y="287"/>
                  </a:lnTo>
                  <a:lnTo>
                    <a:pt x="1497" y="292"/>
                  </a:lnTo>
                  <a:lnTo>
                    <a:pt x="1492" y="295"/>
                  </a:lnTo>
                  <a:lnTo>
                    <a:pt x="1486" y="297"/>
                  </a:lnTo>
                  <a:lnTo>
                    <a:pt x="1484" y="297"/>
                  </a:lnTo>
                  <a:lnTo>
                    <a:pt x="1482" y="297"/>
                  </a:lnTo>
                  <a:lnTo>
                    <a:pt x="1480" y="296"/>
                  </a:lnTo>
                  <a:lnTo>
                    <a:pt x="1478" y="295"/>
                  </a:lnTo>
                  <a:lnTo>
                    <a:pt x="1475" y="291"/>
                  </a:lnTo>
                  <a:lnTo>
                    <a:pt x="1474" y="284"/>
                  </a:lnTo>
                  <a:lnTo>
                    <a:pt x="1474" y="275"/>
                  </a:lnTo>
                  <a:lnTo>
                    <a:pt x="1476" y="262"/>
                  </a:lnTo>
                  <a:lnTo>
                    <a:pt x="1480" y="246"/>
                  </a:lnTo>
                  <a:lnTo>
                    <a:pt x="1486" y="228"/>
                  </a:lnTo>
                  <a:lnTo>
                    <a:pt x="1492" y="207"/>
                  </a:lnTo>
                  <a:lnTo>
                    <a:pt x="1497" y="186"/>
                  </a:lnTo>
                  <a:lnTo>
                    <a:pt x="1503" y="163"/>
                  </a:lnTo>
                  <a:lnTo>
                    <a:pt x="1507" y="142"/>
                  </a:lnTo>
                  <a:lnTo>
                    <a:pt x="1510" y="121"/>
                  </a:lnTo>
                  <a:lnTo>
                    <a:pt x="1512" y="102"/>
                  </a:lnTo>
                  <a:lnTo>
                    <a:pt x="1513" y="83"/>
                  </a:lnTo>
                  <a:lnTo>
                    <a:pt x="1512" y="65"/>
                  </a:lnTo>
                  <a:lnTo>
                    <a:pt x="1511" y="56"/>
                  </a:lnTo>
                  <a:lnTo>
                    <a:pt x="1510" y="49"/>
                  </a:lnTo>
                  <a:lnTo>
                    <a:pt x="1508" y="42"/>
                  </a:lnTo>
                  <a:lnTo>
                    <a:pt x="1506" y="34"/>
                  </a:lnTo>
                  <a:lnTo>
                    <a:pt x="1504" y="28"/>
                  </a:lnTo>
                  <a:lnTo>
                    <a:pt x="1499" y="23"/>
                  </a:lnTo>
                  <a:lnTo>
                    <a:pt x="1496" y="18"/>
                  </a:lnTo>
                  <a:lnTo>
                    <a:pt x="1492" y="12"/>
                  </a:lnTo>
                  <a:lnTo>
                    <a:pt x="1487" y="8"/>
                  </a:lnTo>
                  <a:lnTo>
                    <a:pt x="1482" y="5"/>
                  </a:lnTo>
                  <a:lnTo>
                    <a:pt x="1475" y="3"/>
                  </a:lnTo>
                  <a:lnTo>
                    <a:pt x="1468" y="1"/>
                  </a:lnTo>
                  <a:lnTo>
                    <a:pt x="1461" y="0"/>
                  </a:lnTo>
                  <a:lnTo>
                    <a:pt x="1453" y="0"/>
                  </a:lnTo>
                  <a:lnTo>
                    <a:pt x="1444" y="1"/>
                  </a:lnTo>
                  <a:lnTo>
                    <a:pt x="1434" y="2"/>
                  </a:lnTo>
                  <a:lnTo>
                    <a:pt x="1400" y="11"/>
                  </a:lnTo>
                  <a:lnTo>
                    <a:pt x="1370" y="20"/>
                  </a:lnTo>
                  <a:lnTo>
                    <a:pt x="1347" y="28"/>
                  </a:lnTo>
                  <a:lnTo>
                    <a:pt x="1327" y="34"/>
                  </a:lnTo>
                  <a:lnTo>
                    <a:pt x="1318" y="37"/>
                  </a:lnTo>
                  <a:lnTo>
                    <a:pt x="1309" y="40"/>
                  </a:lnTo>
                  <a:lnTo>
                    <a:pt x="1300" y="41"/>
                  </a:lnTo>
                  <a:lnTo>
                    <a:pt x="1292" y="42"/>
                  </a:lnTo>
                  <a:lnTo>
                    <a:pt x="1282" y="42"/>
                  </a:lnTo>
                  <a:lnTo>
                    <a:pt x="1273" y="40"/>
                  </a:lnTo>
                  <a:lnTo>
                    <a:pt x="1262" y="37"/>
                  </a:lnTo>
                  <a:lnTo>
                    <a:pt x="1251" y="34"/>
                  </a:lnTo>
                  <a:lnTo>
                    <a:pt x="1238" y="30"/>
                  </a:lnTo>
                  <a:lnTo>
                    <a:pt x="1227" y="28"/>
                  </a:lnTo>
                  <a:lnTo>
                    <a:pt x="1214" y="26"/>
                  </a:lnTo>
                  <a:lnTo>
                    <a:pt x="1202" y="25"/>
                  </a:lnTo>
                  <a:lnTo>
                    <a:pt x="1178" y="24"/>
                  </a:lnTo>
                  <a:lnTo>
                    <a:pt x="1157" y="26"/>
                  </a:lnTo>
                  <a:lnTo>
                    <a:pt x="1124" y="31"/>
                  </a:lnTo>
                  <a:lnTo>
                    <a:pt x="1111" y="34"/>
                  </a:lnTo>
                  <a:lnTo>
                    <a:pt x="1105" y="33"/>
                  </a:lnTo>
                  <a:lnTo>
                    <a:pt x="1089" y="34"/>
                  </a:lnTo>
                  <a:lnTo>
                    <a:pt x="1079" y="35"/>
                  </a:lnTo>
                  <a:lnTo>
                    <a:pt x="1067" y="40"/>
                  </a:lnTo>
                  <a:lnTo>
                    <a:pt x="1054" y="45"/>
                  </a:lnTo>
                  <a:lnTo>
                    <a:pt x="1041" y="53"/>
                  </a:lnTo>
                  <a:lnTo>
                    <a:pt x="1027" y="64"/>
                  </a:lnTo>
                  <a:lnTo>
                    <a:pt x="1014" y="76"/>
                  </a:lnTo>
                  <a:lnTo>
                    <a:pt x="1000" y="91"/>
                  </a:lnTo>
                  <a:lnTo>
                    <a:pt x="986" y="107"/>
                  </a:lnTo>
                  <a:lnTo>
                    <a:pt x="974" y="125"/>
                  </a:lnTo>
                  <a:lnTo>
                    <a:pt x="962" y="142"/>
                  </a:lnTo>
                  <a:lnTo>
                    <a:pt x="958" y="152"/>
                  </a:lnTo>
                  <a:lnTo>
                    <a:pt x="953" y="161"/>
                  </a:lnTo>
                  <a:lnTo>
                    <a:pt x="949" y="171"/>
                  </a:lnTo>
                  <a:lnTo>
                    <a:pt x="945" y="180"/>
                  </a:lnTo>
                  <a:lnTo>
                    <a:pt x="941" y="199"/>
                  </a:lnTo>
                  <a:lnTo>
                    <a:pt x="938" y="220"/>
                  </a:lnTo>
                  <a:lnTo>
                    <a:pt x="937" y="240"/>
                  </a:lnTo>
                  <a:lnTo>
                    <a:pt x="936" y="260"/>
                  </a:lnTo>
                  <a:lnTo>
                    <a:pt x="935" y="279"/>
                  </a:lnTo>
                  <a:lnTo>
                    <a:pt x="933" y="297"/>
                  </a:lnTo>
                  <a:lnTo>
                    <a:pt x="932" y="305"/>
                  </a:lnTo>
                  <a:lnTo>
                    <a:pt x="930" y="313"/>
                  </a:lnTo>
                  <a:lnTo>
                    <a:pt x="926" y="320"/>
                  </a:lnTo>
                  <a:lnTo>
                    <a:pt x="923" y="326"/>
                  </a:lnTo>
                  <a:lnTo>
                    <a:pt x="920" y="331"/>
                  </a:lnTo>
                  <a:lnTo>
                    <a:pt x="915" y="336"/>
                  </a:lnTo>
                  <a:lnTo>
                    <a:pt x="910" y="340"/>
                  </a:lnTo>
                  <a:lnTo>
                    <a:pt x="904" y="342"/>
                  </a:lnTo>
                  <a:lnTo>
                    <a:pt x="894" y="346"/>
                  </a:lnTo>
                  <a:lnTo>
                    <a:pt x="882" y="348"/>
                  </a:lnTo>
                  <a:lnTo>
                    <a:pt x="877" y="350"/>
                  </a:lnTo>
                  <a:lnTo>
                    <a:pt x="873" y="351"/>
                  </a:lnTo>
                  <a:lnTo>
                    <a:pt x="869" y="354"/>
                  </a:lnTo>
                  <a:lnTo>
                    <a:pt x="864" y="356"/>
                  </a:lnTo>
                  <a:lnTo>
                    <a:pt x="862" y="359"/>
                  </a:lnTo>
                  <a:lnTo>
                    <a:pt x="860" y="363"/>
                  </a:lnTo>
                  <a:lnTo>
                    <a:pt x="859" y="368"/>
                  </a:lnTo>
                  <a:lnTo>
                    <a:pt x="860" y="374"/>
                  </a:lnTo>
                  <a:lnTo>
                    <a:pt x="862" y="387"/>
                  </a:lnTo>
                  <a:lnTo>
                    <a:pt x="864" y="401"/>
                  </a:lnTo>
                  <a:lnTo>
                    <a:pt x="864" y="407"/>
                  </a:lnTo>
                  <a:lnTo>
                    <a:pt x="864" y="413"/>
                  </a:lnTo>
                  <a:lnTo>
                    <a:pt x="864" y="420"/>
                  </a:lnTo>
                  <a:lnTo>
                    <a:pt x="863" y="425"/>
                  </a:lnTo>
                  <a:lnTo>
                    <a:pt x="861" y="430"/>
                  </a:lnTo>
                  <a:lnTo>
                    <a:pt x="858" y="435"/>
                  </a:lnTo>
                  <a:lnTo>
                    <a:pt x="855" y="440"/>
                  </a:lnTo>
                  <a:lnTo>
                    <a:pt x="850" y="443"/>
                  </a:lnTo>
                  <a:lnTo>
                    <a:pt x="845" y="446"/>
                  </a:lnTo>
                  <a:lnTo>
                    <a:pt x="837" y="448"/>
                  </a:lnTo>
                  <a:lnTo>
                    <a:pt x="829" y="449"/>
                  </a:lnTo>
                  <a:lnTo>
                    <a:pt x="818" y="450"/>
                  </a:lnTo>
                  <a:lnTo>
                    <a:pt x="798" y="451"/>
                  </a:lnTo>
                  <a:lnTo>
                    <a:pt x="779" y="454"/>
                  </a:lnTo>
                  <a:lnTo>
                    <a:pt x="761" y="459"/>
                  </a:lnTo>
                  <a:lnTo>
                    <a:pt x="741" y="465"/>
                  </a:lnTo>
                  <a:lnTo>
                    <a:pt x="720" y="472"/>
                  </a:lnTo>
                  <a:lnTo>
                    <a:pt x="695" y="481"/>
                  </a:lnTo>
                  <a:lnTo>
                    <a:pt x="667" y="490"/>
                  </a:lnTo>
                  <a:lnTo>
                    <a:pt x="635" y="501"/>
                  </a:lnTo>
                  <a:lnTo>
                    <a:pt x="617" y="506"/>
                  </a:lnTo>
                  <a:lnTo>
                    <a:pt x="599" y="510"/>
                  </a:lnTo>
                  <a:lnTo>
                    <a:pt x="582" y="513"/>
                  </a:lnTo>
                  <a:lnTo>
                    <a:pt x="564" y="516"/>
                  </a:lnTo>
                  <a:lnTo>
                    <a:pt x="533" y="521"/>
                  </a:lnTo>
                  <a:lnTo>
                    <a:pt x="503" y="523"/>
                  </a:lnTo>
                  <a:lnTo>
                    <a:pt x="479" y="524"/>
                  </a:lnTo>
                  <a:lnTo>
                    <a:pt x="460" y="524"/>
                  </a:lnTo>
                  <a:lnTo>
                    <a:pt x="449" y="524"/>
                  </a:lnTo>
                  <a:lnTo>
                    <a:pt x="445" y="523"/>
                  </a:lnTo>
                  <a:lnTo>
                    <a:pt x="437" y="526"/>
                  </a:lnTo>
                  <a:lnTo>
                    <a:pt x="419" y="534"/>
                  </a:lnTo>
                  <a:lnTo>
                    <a:pt x="394" y="546"/>
                  </a:lnTo>
                  <a:lnTo>
                    <a:pt x="365" y="560"/>
                  </a:lnTo>
                  <a:lnTo>
                    <a:pt x="334" y="576"/>
                  </a:lnTo>
                  <a:lnTo>
                    <a:pt x="307" y="593"/>
                  </a:lnTo>
                  <a:lnTo>
                    <a:pt x="297" y="600"/>
                  </a:lnTo>
                  <a:lnTo>
                    <a:pt x="287" y="608"/>
                  </a:lnTo>
                  <a:lnTo>
                    <a:pt x="280" y="615"/>
                  </a:lnTo>
                  <a:lnTo>
                    <a:pt x="276" y="621"/>
                  </a:lnTo>
                  <a:lnTo>
                    <a:pt x="272" y="632"/>
                  </a:lnTo>
                  <a:lnTo>
                    <a:pt x="269" y="641"/>
                  </a:lnTo>
                  <a:lnTo>
                    <a:pt x="266" y="649"/>
                  </a:lnTo>
                  <a:lnTo>
                    <a:pt x="262" y="656"/>
                  </a:lnTo>
                  <a:lnTo>
                    <a:pt x="255" y="664"/>
                  </a:lnTo>
                  <a:lnTo>
                    <a:pt x="245" y="674"/>
                  </a:lnTo>
                  <a:lnTo>
                    <a:pt x="229" y="686"/>
                  </a:lnTo>
                  <a:lnTo>
                    <a:pt x="209" y="701"/>
                  </a:lnTo>
                  <a:lnTo>
                    <a:pt x="198" y="710"/>
                  </a:lnTo>
                  <a:lnTo>
                    <a:pt x="187" y="718"/>
                  </a:lnTo>
                  <a:lnTo>
                    <a:pt x="178" y="726"/>
                  </a:lnTo>
                  <a:lnTo>
                    <a:pt x="170" y="735"/>
                  </a:lnTo>
                  <a:lnTo>
                    <a:pt x="155" y="751"/>
                  </a:lnTo>
                  <a:lnTo>
                    <a:pt x="144" y="765"/>
                  </a:lnTo>
                  <a:lnTo>
                    <a:pt x="131" y="787"/>
                  </a:lnTo>
                  <a:lnTo>
                    <a:pt x="127" y="797"/>
                  </a:lnTo>
                  <a:lnTo>
                    <a:pt x="122" y="796"/>
                  </a:lnTo>
                  <a:lnTo>
                    <a:pt x="112" y="796"/>
                  </a:lnTo>
                  <a:lnTo>
                    <a:pt x="96" y="796"/>
                  </a:lnTo>
                  <a:lnTo>
                    <a:pt x="80" y="798"/>
                  </a:lnTo>
                  <a:lnTo>
                    <a:pt x="73" y="800"/>
                  </a:lnTo>
                  <a:lnTo>
                    <a:pt x="66" y="802"/>
                  </a:lnTo>
                  <a:lnTo>
                    <a:pt x="60" y="805"/>
                  </a:lnTo>
                  <a:lnTo>
                    <a:pt x="56" y="809"/>
                  </a:lnTo>
                  <a:lnTo>
                    <a:pt x="54" y="812"/>
                  </a:lnTo>
                  <a:lnTo>
                    <a:pt x="53" y="815"/>
                  </a:lnTo>
                  <a:lnTo>
                    <a:pt x="53" y="818"/>
                  </a:lnTo>
                  <a:lnTo>
                    <a:pt x="53" y="821"/>
                  </a:lnTo>
                  <a:lnTo>
                    <a:pt x="55" y="828"/>
                  </a:lnTo>
                  <a:lnTo>
                    <a:pt x="60" y="838"/>
                  </a:lnTo>
                  <a:lnTo>
                    <a:pt x="66" y="847"/>
                  </a:lnTo>
                  <a:lnTo>
                    <a:pt x="70" y="857"/>
                  </a:lnTo>
                  <a:lnTo>
                    <a:pt x="72" y="866"/>
                  </a:lnTo>
                  <a:lnTo>
                    <a:pt x="73" y="875"/>
                  </a:lnTo>
                  <a:lnTo>
                    <a:pt x="73" y="886"/>
                  </a:lnTo>
                  <a:lnTo>
                    <a:pt x="72" y="895"/>
                  </a:lnTo>
                  <a:lnTo>
                    <a:pt x="70" y="905"/>
                  </a:lnTo>
                  <a:lnTo>
                    <a:pt x="68" y="913"/>
                  </a:lnTo>
                  <a:lnTo>
                    <a:pt x="63" y="932"/>
                  </a:lnTo>
                  <a:lnTo>
                    <a:pt x="58" y="949"/>
                  </a:lnTo>
                  <a:lnTo>
                    <a:pt x="56" y="957"/>
                  </a:lnTo>
                  <a:lnTo>
                    <a:pt x="55" y="966"/>
                  </a:lnTo>
                  <a:lnTo>
                    <a:pt x="56" y="973"/>
                  </a:lnTo>
                  <a:lnTo>
                    <a:pt x="57" y="980"/>
                  </a:lnTo>
                  <a:lnTo>
                    <a:pt x="61" y="994"/>
                  </a:lnTo>
                  <a:lnTo>
                    <a:pt x="69" y="1009"/>
                  </a:lnTo>
                  <a:lnTo>
                    <a:pt x="77" y="1023"/>
                  </a:lnTo>
                  <a:lnTo>
                    <a:pt x="87" y="1037"/>
                  </a:lnTo>
                  <a:lnTo>
                    <a:pt x="95" y="1051"/>
                  </a:lnTo>
                  <a:lnTo>
                    <a:pt x="102" y="1067"/>
                  </a:lnTo>
                  <a:lnTo>
                    <a:pt x="106" y="1074"/>
                  </a:lnTo>
                  <a:lnTo>
                    <a:pt x="108" y="1081"/>
                  </a:lnTo>
                  <a:lnTo>
                    <a:pt x="110" y="1090"/>
                  </a:lnTo>
                  <a:lnTo>
                    <a:pt x="111" y="1098"/>
                  </a:lnTo>
                  <a:lnTo>
                    <a:pt x="112" y="1136"/>
                  </a:lnTo>
                  <a:lnTo>
                    <a:pt x="111" y="1175"/>
                  </a:lnTo>
                  <a:lnTo>
                    <a:pt x="109" y="1206"/>
                  </a:lnTo>
                  <a:lnTo>
                    <a:pt x="108" y="1219"/>
                  </a:lnTo>
                  <a:lnTo>
                    <a:pt x="60" y="1266"/>
                  </a:lnTo>
                  <a:lnTo>
                    <a:pt x="49" y="1276"/>
                  </a:lnTo>
                  <a:lnTo>
                    <a:pt x="52" y="1273"/>
                  </a:lnTo>
                  <a:close/>
                  <a:moveTo>
                    <a:pt x="7" y="1296"/>
                  </a:moveTo>
                  <a:lnTo>
                    <a:pt x="17" y="1289"/>
                  </a:lnTo>
                  <a:lnTo>
                    <a:pt x="11" y="1292"/>
                  </a:lnTo>
                  <a:lnTo>
                    <a:pt x="7" y="1296"/>
                  </a:lnTo>
                  <a:close/>
                </a:path>
              </a:pathLst>
            </a:custGeom>
            <a:solidFill>
              <a:srgbClr val="D5D5D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>
              <a:off x="680914" y="1607722"/>
              <a:ext cx="191546" cy="205951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1112763" y="2276605"/>
              <a:ext cx="191546" cy="205949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0" name="Oval 49"/>
            <p:cNvSpPr/>
            <p:nvPr/>
          </p:nvSpPr>
          <p:spPr>
            <a:xfrm>
              <a:off x="1852826" y="3443047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Oval 50"/>
            <p:cNvSpPr/>
            <p:nvPr/>
          </p:nvSpPr>
          <p:spPr>
            <a:xfrm>
              <a:off x="1972978" y="3375611"/>
              <a:ext cx="189804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Oval 51"/>
            <p:cNvSpPr/>
            <p:nvPr/>
          </p:nvSpPr>
          <p:spPr>
            <a:xfrm>
              <a:off x="2021736" y="3630771"/>
              <a:ext cx="191546" cy="205951"/>
            </a:xfrm>
            <a:prstGeom prst="ellipse">
              <a:avLst/>
            </a:prstGeom>
            <a:solidFill>
              <a:srgbClr val="008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54" name="Oval 53"/>
            <p:cNvSpPr/>
            <p:nvPr/>
          </p:nvSpPr>
          <p:spPr>
            <a:xfrm>
              <a:off x="2258556" y="3375611"/>
              <a:ext cx="191546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55" name="Oval 54"/>
            <p:cNvSpPr/>
            <p:nvPr/>
          </p:nvSpPr>
          <p:spPr>
            <a:xfrm>
              <a:off x="2258556" y="3528707"/>
              <a:ext cx="191546" cy="205951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6" name="Oval 55"/>
            <p:cNvSpPr/>
            <p:nvPr/>
          </p:nvSpPr>
          <p:spPr>
            <a:xfrm>
              <a:off x="2423981" y="3375611"/>
              <a:ext cx="189805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13</a:t>
              </a:r>
            </a:p>
          </p:txBody>
        </p:sp>
        <p:sp>
          <p:nvSpPr>
            <p:cNvPr id="58" name="Oval 57"/>
            <p:cNvSpPr/>
            <p:nvPr/>
          </p:nvSpPr>
          <p:spPr>
            <a:xfrm>
              <a:off x="2530203" y="3710964"/>
              <a:ext cx="191546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13</a:t>
              </a:r>
            </a:p>
          </p:txBody>
        </p:sp>
        <p:sp>
          <p:nvSpPr>
            <p:cNvPr id="59" name="Oval 58"/>
            <p:cNvSpPr/>
            <p:nvPr/>
          </p:nvSpPr>
          <p:spPr>
            <a:xfrm>
              <a:off x="2890657" y="3783866"/>
              <a:ext cx="189805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18</a:t>
              </a:r>
            </a:p>
          </p:txBody>
        </p:sp>
        <p:sp>
          <p:nvSpPr>
            <p:cNvPr id="60" name="Oval 59"/>
            <p:cNvSpPr/>
            <p:nvPr/>
          </p:nvSpPr>
          <p:spPr>
            <a:xfrm>
              <a:off x="3080462" y="3783866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1</a:t>
              </a:r>
            </a:p>
          </p:txBody>
        </p:sp>
        <p:sp>
          <p:nvSpPr>
            <p:cNvPr id="61" name="Oval 60"/>
            <p:cNvSpPr/>
            <p:nvPr/>
          </p:nvSpPr>
          <p:spPr>
            <a:xfrm>
              <a:off x="3043893" y="4053606"/>
              <a:ext cx="191546" cy="207773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1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492677" y="231487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63" name="Oval 62"/>
            <p:cNvSpPr/>
            <p:nvPr/>
          </p:nvSpPr>
          <p:spPr>
            <a:xfrm>
              <a:off x="4334217" y="2670279"/>
              <a:ext cx="191546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25</a:t>
              </a:r>
            </a:p>
          </p:txBody>
        </p:sp>
        <p:sp>
          <p:nvSpPr>
            <p:cNvPr id="64" name="Oval 63"/>
            <p:cNvSpPr/>
            <p:nvPr/>
          </p:nvSpPr>
          <p:spPr>
            <a:xfrm>
              <a:off x="6091214" y="2034203"/>
              <a:ext cx="189805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9</a:t>
              </a:r>
            </a:p>
          </p:txBody>
        </p:sp>
        <p:sp>
          <p:nvSpPr>
            <p:cNvPr id="65" name="Oval 64"/>
            <p:cNvSpPr/>
            <p:nvPr/>
          </p:nvSpPr>
          <p:spPr>
            <a:xfrm>
              <a:off x="5821309" y="2178186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6" name="Oval 65"/>
            <p:cNvSpPr/>
            <p:nvPr/>
          </p:nvSpPr>
          <p:spPr>
            <a:xfrm>
              <a:off x="5029005" y="3335515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7</a:t>
              </a:r>
            </a:p>
          </p:txBody>
        </p:sp>
        <p:sp>
          <p:nvSpPr>
            <p:cNvPr id="69" name="Oval 68"/>
            <p:cNvSpPr/>
            <p:nvPr/>
          </p:nvSpPr>
          <p:spPr>
            <a:xfrm>
              <a:off x="2697370" y="3920559"/>
              <a:ext cx="191546" cy="207773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70" name="Oval 69"/>
            <p:cNvSpPr/>
            <p:nvPr/>
          </p:nvSpPr>
          <p:spPr>
            <a:xfrm>
              <a:off x="1306050" y="2068832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72" name="Oval 71"/>
            <p:cNvSpPr/>
            <p:nvPr/>
          </p:nvSpPr>
          <p:spPr>
            <a:xfrm>
              <a:off x="4503125" y="2613779"/>
              <a:ext cx="191546" cy="205951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26</a:t>
              </a:r>
            </a:p>
          </p:txBody>
        </p:sp>
        <p:sp>
          <p:nvSpPr>
            <p:cNvPr id="73" name="Oval 72"/>
            <p:cNvSpPr/>
            <p:nvPr/>
          </p:nvSpPr>
          <p:spPr>
            <a:xfrm>
              <a:off x="1535905" y="299651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75" name="Oval 74"/>
            <p:cNvSpPr/>
            <p:nvPr/>
          </p:nvSpPr>
          <p:spPr>
            <a:xfrm>
              <a:off x="2235918" y="3765640"/>
              <a:ext cx="191546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27</a:t>
              </a:r>
            </a:p>
          </p:txBody>
        </p:sp>
        <p:sp>
          <p:nvSpPr>
            <p:cNvPr id="76" name="Oval 75"/>
            <p:cNvSpPr/>
            <p:nvPr/>
          </p:nvSpPr>
          <p:spPr>
            <a:xfrm>
              <a:off x="2364776" y="368544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5</a:t>
              </a:r>
            </a:p>
          </p:txBody>
        </p:sp>
        <p:sp>
          <p:nvSpPr>
            <p:cNvPr id="77" name="Oval 76"/>
            <p:cNvSpPr/>
            <p:nvPr/>
          </p:nvSpPr>
          <p:spPr>
            <a:xfrm>
              <a:off x="4226254" y="2413297"/>
              <a:ext cx="189804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30</a:t>
              </a:r>
            </a:p>
          </p:txBody>
        </p:sp>
        <p:sp>
          <p:nvSpPr>
            <p:cNvPr id="78" name="Oval 77"/>
            <p:cNvSpPr/>
            <p:nvPr/>
          </p:nvSpPr>
          <p:spPr>
            <a:xfrm>
              <a:off x="2434429" y="3847657"/>
              <a:ext cx="191546" cy="205949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23</a:t>
              </a:r>
            </a:p>
          </p:txBody>
        </p:sp>
        <p:sp>
          <p:nvSpPr>
            <p:cNvPr id="80" name="Oval 79"/>
            <p:cNvSpPr/>
            <p:nvPr/>
          </p:nvSpPr>
          <p:spPr>
            <a:xfrm>
              <a:off x="2598114" y="3452159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84" name="Oval 83"/>
            <p:cNvSpPr/>
            <p:nvPr/>
          </p:nvSpPr>
          <p:spPr>
            <a:xfrm>
              <a:off x="5896186" y="231487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92" name="Oval 91"/>
            <p:cNvSpPr/>
            <p:nvPr/>
          </p:nvSpPr>
          <p:spPr>
            <a:xfrm>
              <a:off x="3198872" y="3967946"/>
              <a:ext cx="191546" cy="207773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93" name="Oval 92"/>
            <p:cNvSpPr/>
            <p:nvPr/>
          </p:nvSpPr>
          <p:spPr>
            <a:xfrm>
              <a:off x="3223251" y="4133799"/>
              <a:ext cx="191546" cy="207773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9</a:t>
              </a:r>
            </a:p>
          </p:txBody>
        </p:sp>
        <p:sp>
          <p:nvSpPr>
            <p:cNvPr id="102" name="Oval 101"/>
            <p:cNvSpPr/>
            <p:nvPr/>
          </p:nvSpPr>
          <p:spPr>
            <a:xfrm>
              <a:off x="6620577" y="216542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3" name="Oval 102"/>
            <p:cNvSpPr/>
            <p:nvPr/>
          </p:nvSpPr>
          <p:spPr>
            <a:xfrm>
              <a:off x="6958395" y="3069420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4" name="Oval 103"/>
            <p:cNvSpPr/>
            <p:nvPr/>
          </p:nvSpPr>
          <p:spPr>
            <a:xfrm>
              <a:off x="7480793" y="250624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5" name="Oval 104"/>
            <p:cNvSpPr/>
            <p:nvPr/>
          </p:nvSpPr>
          <p:spPr>
            <a:xfrm>
              <a:off x="8445487" y="2613779"/>
              <a:ext cx="191546" cy="205951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6" name="Oval 105"/>
            <p:cNvSpPr/>
            <p:nvPr/>
          </p:nvSpPr>
          <p:spPr>
            <a:xfrm>
              <a:off x="7679304" y="2739536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7" name="Oval 106"/>
            <p:cNvSpPr/>
            <p:nvPr/>
          </p:nvSpPr>
          <p:spPr>
            <a:xfrm>
              <a:off x="7707165" y="3076711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8" name="Oval 107"/>
            <p:cNvSpPr/>
            <p:nvPr/>
          </p:nvSpPr>
          <p:spPr>
            <a:xfrm>
              <a:off x="7888263" y="2539054"/>
              <a:ext cx="191546" cy="205949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09" name="Oval 108"/>
            <p:cNvSpPr/>
            <p:nvPr/>
          </p:nvSpPr>
          <p:spPr>
            <a:xfrm>
              <a:off x="8677084" y="3282661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10" name="Oval 109"/>
            <p:cNvSpPr/>
            <p:nvPr/>
          </p:nvSpPr>
          <p:spPr>
            <a:xfrm>
              <a:off x="9075847" y="2872583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9</a:t>
              </a:r>
            </a:p>
          </p:txBody>
        </p:sp>
        <p:sp>
          <p:nvSpPr>
            <p:cNvPr id="111" name="Oval 110"/>
            <p:cNvSpPr/>
            <p:nvPr/>
          </p:nvSpPr>
          <p:spPr>
            <a:xfrm>
              <a:off x="1579439" y="3140501"/>
              <a:ext cx="191546" cy="205949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12" name="Oval 111"/>
            <p:cNvSpPr/>
            <p:nvPr/>
          </p:nvSpPr>
          <p:spPr>
            <a:xfrm>
              <a:off x="1426202" y="2291185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13" name="Oval 112"/>
            <p:cNvSpPr/>
            <p:nvPr/>
          </p:nvSpPr>
          <p:spPr>
            <a:xfrm>
              <a:off x="848082" y="1782689"/>
              <a:ext cx="191546" cy="20595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14" name="Oval 113"/>
            <p:cNvSpPr/>
            <p:nvPr/>
          </p:nvSpPr>
          <p:spPr>
            <a:xfrm>
              <a:off x="1656057" y="3025679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4</a:t>
              </a:r>
            </a:p>
          </p:txBody>
        </p:sp>
        <p:sp>
          <p:nvSpPr>
            <p:cNvPr id="115" name="Oval 114"/>
            <p:cNvSpPr/>
            <p:nvPr/>
          </p:nvSpPr>
          <p:spPr>
            <a:xfrm>
              <a:off x="2077458" y="3322758"/>
              <a:ext cx="191546" cy="20777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19</a:t>
              </a:r>
            </a:p>
          </p:txBody>
        </p:sp>
        <p:sp>
          <p:nvSpPr>
            <p:cNvPr id="116" name="Oval 115"/>
            <p:cNvSpPr/>
            <p:nvPr/>
          </p:nvSpPr>
          <p:spPr>
            <a:xfrm>
              <a:off x="1279931" y="2451571"/>
              <a:ext cx="191546" cy="205949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0</a:t>
              </a:r>
            </a:p>
          </p:txBody>
        </p:sp>
        <p:sp>
          <p:nvSpPr>
            <p:cNvPr id="117" name="Oval 116"/>
            <p:cNvSpPr/>
            <p:nvPr/>
          </p:nvSpPr>
          <p:spPr>
            <a:xfrm>
              <a:off x="2728714" y="3756528"/>
              <a:ext cx="191546" cy="207773"/>
            </a:xfrm>
            <a:prstGeom prst="ellipse">
              <a:avLst/>
            </a:prstGeom>
            <a:solidFill>
              <a:srgbClr val="FFE227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2</a:t>
              </a:r>
            </a:p>
          </p:txBody>
        </p:sp>
        <p:sp>
          <p:nvSpPr>
            <p:cNvPr id="118" name="Oval 117"/>
            <p:cNvSpPr/>
            <p:nvPr/>
          </p:nvSpPr>
          <p:spPr>
            <a:xfrm>
              <a:off x="1823224" y="3038437"/>
              <a:ext cx="191546" cy="207773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24</a:t>
              </a:r>
            </a:p>
          </p:txBody>
        </p:sp>
        <p:sp>
          <p:nvSpPr>
            <p:cNvPr id="119" name="Oval 118"/>
            <p:cNvSpPr/>
            <p:nvPr/>
          </p:nvSpPr>
          <p:spPr>
            <a:xfrm>
              <a:off x="3602860" y="3869527"/>
              <a:ext cx="191546" cy="207773"/>
            </a:xfrm>
            <a:prstGeom prst="ellipse">
              <a:avLst/>
            </a:prstGeom>
            <a:solidFill>
              <a:srgbClr val="37609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53631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chemeClr val="bg1"/>
                  </a:solidFill>
                </a:rPr>
                <a:t>28</a:t>
              </a:r>
            </a:p>
          </p:txBody>
        </p:sp>
      </p:grpSp>
      <p:sp>
        <p:nvSpPr>
          <p:cNvPr id="152" name="Oval 151"/>
          <p:cNvSpPr/>
          <p:nvPr/>
        </p:nvSpPr>
        <p:spPr bwMode="auto">
          <a:xfrm>
            <a:off x="249799" y="3852779"/>
            <a:ext cx="174625" cy="180975"/>
          </a:xfrm>
          <a:prstGeom prst="ellipse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3" name="Oval 152"/>
          <p:cNvSpPr/>
          <p:nvPr/>
        </p:nvSpPr>
        <p:spPr bwMode="auto">
          <a:xfrm>
            <a:off x="249799" y="3681903"/>
            <a:ext cx="174625" cy="180975"/>
          </a:xfrm>
          <a:prstGeom prst="ellipse">
            <a:avLst/>
          </a:prstGeom>
          <a:solidFill>
            <a:srgbClr val="FFE22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4" name="Oval 153"/>
          <p:cNvSpPr/>
          <p:nvPr/>
        </p:nvSpPr>
        <p:spPr bwMode="auto">
          <a:xfrm>
            <a:off x="249799" y="4034359"/>
            <a:ext cx="174625" cy="180975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5" name="Oval 154"/>
          <p:cNvSpPr/>
          <p:nvPr/>
        </p:nvSpPr>
        <p:spPr bwMode="auto">
          <a:xfrm>
            <a:off x="249799" y="4208181"/>
            <a:ext cx="174625" cy="180975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63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4606" y="3636040"/>
            <a:ext cx="230187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/>
              <a:t>Proyek</a:t>
            </a:r>
            <a:r>
              <a:rPr lang="en-US" sz="1100" dirty="0"/>
              <a:t> </a:t>
            </a:r>
            <a:r>
              <a:rPr lang="en-US" sz="1100" dirty="0" err="1"/>
              <a:t>dalam</a:t>
            </a:r>
            <a:r>
              <a:rPr lang="en-US" sz="1100" dirty="0"/>
              <a:t> </a:t>
            </a:r>
            <a:r>
              <a:rPr lang="en-US" sz="1100" dirty="0" err="1"/>
              <a:t>tahap</a:t>
            </a:r>
            <a:r>
              <a:rPr lang="en-US" sz="1100" dirty="0"/>
              <a:t> </a:t>
            </a:r>
            <a:r>
              <a:rPr lang="en-US" sz="1100" dirty="0" err="1"/>
              <a:t>konstruksi</a:t>
            </a:r>
            <a:endParaRPr lang="en-US" sz="1100" dirty="0"/>
          </a:p>
          <a:p>
            <a:r>
              <a:rPr lang="en-US" sz="1100" dirty="0" err="1"/>
              <a:t>Proyek</a:t>
            </a:r>
            <a:r>
              <a:rPr lang="en-US" sz="1100" dirty="0"/>
              <a:t> </a:t>
            </a:r>
            <a:r>
              <a:rPr lang="en-US" sz="1100" dirty="0" err="1"/>
              <a:t>dalam</a:t>
            </a:r>
            <a:r>
              <a:rPr lang="en-US" sz="1100" dirty="0"/>
              <a:t> </a:t>
            </a:r>
            <a:r>
              <a:rPr lang="en-US" sz="1100" dirty="0" err="1"/>
              <a:t>tahap</a:t>
            </a:r>
            <a:r>
              <a:rPr lang="en-US" sz="1100" dirty="0"/>
              <a:t> </a:t>
            </a:r>
            <a:r>
              <a:rPr lang="en-US" sz="1100" dirty="0" err="1"/>
              <a:t>transaksi</a:t>
            </a:r>
            <a:endParaRPr lang="en-US" sz="1100" dirty="0"/>
          </a:p>
          <a:p>
            <a:r>
              <a:rPr lang="en-US" sz="1100" dirty="0" err="1"/>
              <a:t>Proyek</a:t>
            </a:r>
            <a:r>
              <a:rPr lang="en-US" sz="1100" dirty="0"/>
              <a:t> </a:t>
            </a:r>
            <a:r>
              <a:rPr lang="en-US" sz="1100" dirty="0" err="1"/>
              <a:t>dalam</a:t>
            </a:r>
            <a:r>
              <a:rPr lang="en-US" sz="1100" dirty="0"/>
              <a:t> </a:t>
            </a:r>
            <a:r>
              <a:rPr lang="en-US" sz="1100" dirty="0" err="1"/>
              <a:t>tahap</a:t>
            </a:r>
            <a:r>
              <a:rPr lang="en-US" sz="1100" dirty="0"/>
              <a:t> </a:t>
            </a:r>
            <a:r>
              <a:rPr lang="en-US" sz="1100" dirty="0" err="1"/>
              <a:t>penyiapan</a:t>
            </a:r>
            <a:endParaRPr lang="en-US" sz="1100" dirty="0"/>
          </a:p>
          <a:p>
            <a:r>
              <a:rPr lang="en-US" sz="1100" dirty="0" err="1"/>
              <a:t>Proyek</a:t>
            </a:r>
            <a:r>
              <a:rPr lang="en-US" sz="1100" dirty="0"/>
              <a:t> </a:t>
            </a:r>
            <a:r>
              <a:rPr lang="en-US" sz="1100" dirty="0" err="1"/>
              <a:t>dalam</a:t>
            </a:r>
            <a:r>
              <a:rPr lang="en-US" sz="1100" dirty="0"/>
              <a:t> </a:t>
            </a:r>
            <a:r>
              <a:rPr lang="en-US" sz="1100" dirty="0" err="1"/>
              <a:t>peninjauan</a:t>
            </a:r>
            <a:r>
              <a:rPr lang="en-US" sz="1100" dirty="0"/>
              <a:t> </a:t>
            </a:r>
            <a:r>
              <a:rPr lang="en-US" sz="1100" dirty="0" err="1"/>
              <a:t>kembali</a:t>
            </a:r>
            <a:endParaRPr lang="en-US" sz="1100" dirty="0"/>
          </a:p>
        </p:txBody>
      </p:sp>
      <p:sp>
        <p:nvSpPr>
          <p:cNvPr id="157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572498" y="6500161"/>
            <a:ext cx="379337" cy="366183"/>
          </a:xfrm>
          <a:prstGeom prst="rect">
            <a:avLst/>
          </a:prstGeom>
        </p:spPr>
        <p:txBody>
          <a:bodyPr/>
          <a:lstStyle/>
          <a:p>
            <a:fld id="{AB46D494-7267-194E-A2F6-517973E63D58}" type="slidenum">
              <a:rPr lang="en-US" smtClean="0">
                <a:solidFill>
                  <a:schemeClr val="tx1"/>
                </a:solidFill>
              </a:rPr>
              <a:pPr/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3367581" y="4572225"/>
            <a:ext cx="3397586" cy="2277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US" sz="1100" b="0" i="1" dirty="0">
                <a:latin typeface="Arial"/>
                <a:cs typeface="Arial"/>
              </a:rPr>
              <a:t>Inland Waterways/</a:t>
            </a:r>
            <a:r>
              <a:rPr lang="en-US" sz="1100" b="0" dirty="0" err="1">
                <a:latin typeface="Arial"/>
                <a:cs typeface="Arial"/>
              </a:rPr>
              <a:t>Cikarang</a:t>
            </a:r>
            <a:r>
              <a:rPr lang="en-US" sz="1100" b="0" dirty="0">
                <a:latin typeface="Arial"/>
                <a:cs typeface="Arial"/>
              </a:rPr>
              <a:t> – </a:t>
            </a:r>
            <a:r>
              <a:rPr lang="en-US" sz="1100" b="0" dirty="0" err="1">
                <a:latin typeface="Arial"/>
                <a:cs typeface="Arial"/>
              </a:rPr>
              <a:t>Bekasi</a:t>
            </a:r>
            <a:r>
              <a:rPr lang="en-US" sz="1100" b="0" dirty="0">
                <a:latin typeface="Arial"/>
                <a:cs typeface="Arial"/>
              </a:rPr>
              <a:t> – </a:t>
            </a:r>
            <a:r>
              <a:rPr lang="en-US" sz="1100" b="0" dirty="0" err="1">
                <a:latin typeface="Arial"/>
                <a:cs typeface="Arial"/>
              </a:rPr>
              <a:t>Laut</a:t>
            </a:r>
            <a:r>
              <a:rPr lang="en-US" sz="1100" b="0" dirty="0">
                <a:latin typeface="Arial"/>
                <a:cs typeface="Arial"/>
              </a:rPr>
              <a:t> (CBL)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US" sz="1100" b="0" i="1" dirty="0">
                <a:latin typeface="Arial"/>
                <a:cs typeface="Arial"/>
              </a:rPr>
              <a:t>Light Rail Transit</a:t>
            </a:r>
            <a:r>
              <a:rPr lang="en-US" sz="1100" b="0" dirty="0">
                <a:latin typeface="Arial"/>
                <a:cs typeface="Arial"/>
              </a:rPr>
              <a:t> (LRT) di </a:t>
            </a:r>
            <a:r>
              <a:rPr lang="en-US" sz="1100" b="0" dirty="0" err="1">
                <a:latin typeface="Arial"/>
                <a:cs typeface="Arial"/>
              </a:rPr>
              <a:t>Provinsi</a:t>
            </a:r>
            <a:r>
              <a:rPr lang="en-US" sz="1100" b="0" dirty="0">
                <a:latin typeface="Arial"/>
                <a:cs typeface="Arial"/>
              </a:rPr>
              <a:t> Sumatera Selatan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US" sz="1100" b="0" i="1" dirty="0">
                <a:latin typeface="Arial"/>
                <a:cs typeface="Arial"/>
              </a:rPr>
              <a:t>Light Rail Transit</a:t>
            </a:r>
            <a:r>
              <a:rPr lang="en-US" sz="1100" b="0" dirty="0">
                <a:latin typeface="Arial"/>
                <a:cs typeface="Arial"/>
              </a:rPr>
              <a:t> (LRT) </a:t>
            </a:r>
            <a:r>
              <a:rPr lang="en-US" sz="1100" b="0" dirty="0" err="1">
                <a:latin typeface="Arial"/>
                <a:cs typeface="Arial"/>
              </a:rPr>
              <a:t>Terintegrasi</a:t>
            </a:r>
            <a:r>
              <a:rPr lang="en-US" sz="1100" b="0" dirty="0">
                <a:latin typeface="Arial"/>
                <a:cs typeface="Arial"/>
              </a:rPr>
              <a:t> di Wilayah Jakarta, Bogor, </a:t>
            </a:r>
            <a:r>
              <a:rPr lang="en-US" sz="1100" b="0" dirty="0" err="1">
                <a:latin typeface="Arial"/>
                <a:cs typeface="Arial"/>
              </a:rPr>
              <a:t>Depok</a:t>
            </a:r>
            <a:r>
              <a:rPr lang="en-US" sz="1100" b="0" dirty="0">
                <a:latin typeface="Arial"/>
                <a:cs typeface="Arial"/>
              </a:rPr>
              <a:t> </a:t>
            </a:r>
            <a:r>
              <a:rPr lang="en-US" sz="1100" b="0" dirty="0" err="1">
                <a:latin typeface="Arial"/>
                <a:cs typeface="Arial"/>
              </a:rPr>
              <a:t>dan</a:t>
            </a:r>
            <a:r>
              <a:rPr lang="en-US" sz="1100" b="0" dirty="0">
                <a:latin typeface="Arial"/>
                <a:cs typeface="Arial"/>
              </a:rPr>
              <a:t> </a:t>
            </a:r>
            <a:r>
              <a:rPr lang="en-US" sz="1100" b="0" dirty="0" err="1">
                <a:latin typeface="Arial"/>
                <a:cs typeface="Arial"/>
              </a:rPr>
              <a:t>Bekasi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GB" sz="1100" b="0" i="1" dirty="0">
                <a:latin typeface="Arial"/>
                <a:cs typeface="Arial"/>
              </a:rPr>
              <a:t>National Capital Integrated Coastal Development</a:t>
            </a:r>
            <a:r>
              <a:rPr lang="en-GB" sz="1100" b="0" dirty="0">
                <a:latin typeface="Arial"/>
                <a:cs typeface="Arial"/>
              </a:rPr>
              <a:t> (NCICD) </a:t>
            </a:r>
            <a:r>
              <a:rPr lang="en-GB" sz="1100" b="0" dirty="0" err="1">
                <a:latin typeface="Arial"/>
                <a:cs typeface="Arial"/>
              </a:rPr>
              <a:t>Fase</a:t>
            </a:r>
            <a:r>
              <a:rPr lang="en-GB" sz="1100" b="0" dirty="0">
                <a:latin typeface="Arial"/>
                <a:cs typeface="Arial"/>
              </a:rPr>
              <a:t> A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Sistem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Pengolahan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Limbah</a:t>
            </a:r>
            <a:r>
              <a:rPr lang="en-GB" sz="1100" b="0" dirty="0">
                <a:latin typeface="Arial"/>
                <a:cs typeface="Arial"/>
              </a:rPr>
              <a:t> Jakarta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SPAM Semarang Barat</a:t>
            </a:r>
            <a:r>
              <a:rPr lang="en-ID" sz="1100" b="0" dirty="0">
                <a:latin typeface="Arial"/>
                <a:cs typeface="Arial"/>
              </a:rPr>
              <a:t> </a:t>
            </a:r>
            <a:r>
              <a:rPr lang="en-GB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GB" sz="1100" b="0" i="1" dirty="0">
                <a:latin typeface="Arial"/>
                <a:cs typeface="Arial"/>
              </a:rPr>
              <a:t>High Voltage Direct Current</a:t>
            </a:r>
            <a:r>
              <a:rPr lang="en-GB" sz="1100" b="0" dirty="0">
                <a:latin typeface="Arial"/>
                <a:cs typeface="Arial"/>
              </a:rPr>
              <a:t> (HVDC) </a:t>
            </a:r>
          </a:p>
          <a:p>
            <a:pPr marL="228600" indent="-228600">
              <a:buFont typeface="+mj-lt"/>
              <a:buAutoNum type="arabicPeriod" startAt="13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Transmisi</a:t>
            </a:r>
            <a:r>
              <a:rPr lang="en-GB" sz="1100" b="0" dirty="0">
                <a:latin typeface="Arial"/>
                <a:cs typeface="Arial"/>
              </a:rPr>
              <a:t> Sumatera 500 kV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>
              <a:tabLst>
                <a:tab pos="176213" algn="l"/>
              </a:tabLst>
            </a:pPr>
            <a:endParaRPr lang="en-US" sz="1000" b="0" dirty="0">
              <a:latin typeface="Arial"/>
              <a:ea typeface="MS PGothic" charset="0"/>
              <a:cs typeface="Arial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6510137" y="4572225"/>
            <a:ext cx="339758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i="1" dirty="0">
                <a:latin typeface="Arial"/>
                <a:cs typeface="Arial"/>
              </a:rPr>
              <a:t>Central – West Java Transmission Line</a:t>
            </a:r>
            <a:r>
              <a:rPr lang="en-GB" sz="1100" b="0" dirty="0">
                <a:latin typeface="Arial"/>
                <a:cs typeface="Arial"/>
              </a:rPr>
              <a:t> 500 kV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i="1" dirty="0">
                <a:latin typeface="Arial"/>
                <a:cs typeface="Arial"/>
              </a:rPr>
              <a:t>Central Java Power Plant</a:t>
            </a:r>
            <a:r>
              <a:rPr lang="en-GB" sz="1100" b="0" dirty="0">
                <a:latin typeface="Arial"/>
                <a:cs typeface="Arial"/>
              </a:rPr>
              <a:t> (CJPP)/PLTU </a:t>
            </a:r>
            <a:r>
              <a:rPr lang="en-GB" sz="1100" b="0" dirty="0" err="1">
                <a:latin typeface="Arial"/>
                <a:cs typeface="Arial"/>
              </a:rPr>
              <a:t>Batang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PLTU </a:t>
            </a:r>
            <a:r>
              <a:rPr lang="en-GB" sz="1100" b="0" dirty="0" err="1">
                <a:latin typeface="Arial"/>
                <a:cs typeface="Arial"/>
              </a:rPr>
              <a:t>Indramayu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PLTU </a:t>
            </a:r>
            <a:r>
              <a:rPr lang="en-GB" sz="1100" b="0" dirty="0" err="1">
                <a:latin typeface="Arial"/>
                <a:cs typeface="Arial"/>
              </a:rPr>
              <a:t>Mulut</a:t>
            </a:r>
            <a:r>
              <a:rPr lang="en-GB" sz="1100" b="0" dirty="0">
                <a:latin typeface="Arial"/>
                <a:cs typeface="Arial"/>
              </a:rPr>
              <a:t> Tambang Sumatera Selatan 8, 9, 10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Kilang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Minyak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Bontang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RDMP/</a:t>
            </a:r>
            <a:r>
              <a:rPr lang="en-GB" sz="1100" b="0" dirty="0" err="1">
                <a:latin typeface="Arial"/>
                <a:cs typeface="Arial"/>
              </a:rPr>
              <a:t>Revitalisasi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Kilang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Eksisting</a:t>
            </a:r>
            <a:r>
              <a:rPr lang="en-GB" sz="1100" b="0" dirty="0">
                <a:latin typeface="Arial"/>
                <a:cs typeface="Arial"/>
              </a:rPr>
              <a:t> (Balikpapan, </a:t>
            </a:r>
            <a:r>
              <a:rPr lang="en-GB" sz="1100" b="0" dirty="0" err="1">
                <a:latin typeface="Arial"/>
                <a:cs typeface="Arial"/>
              </a:rPr>
              <a:t>Cilacap</a:t>
            </a:r>
            <a:r>
              <a:rPr lang="en-GB" sz="1100" b="0" dirty="0">
                <a:latin typeface="Arial"/>
                <a:cs typeface="Arial"/>
              </a:rPr>
              <a:t>, </a:t>
            </a:r>
            <a:r>
              <a:rPr lang="en-GB" sz="1100" b="0" dirty="0" err="1">
                <a:latin typeface="Arial"/>
                <a:cs typeface="Arial"/>
              </a:rPr>
              <a:t>Balongan</a:t>
            </a:r>
            <a:r>
              <a:rPr lang="en-GB" sz="1100" b="0" dirty="0">
                <a:latin typeface="Arial"/>
                <a:cs typeface="Arial"/>
              </a:rPr>
              <a:t>, </a:t>
            </a:r>
            <a:r>
              <a:rPr lang="en-GB" sz="1100" b="0" dirty="0" err="1">
                <a:latin typeface="Arial"/>
                <a:cs typeface="Arial"/>
              </a:rPr>
              <a:t>Dumai</a:t>
            </a:r>
            <a:r>
              <a:rPr lang="en-GB" sz="1100" b="0" dirty="0">
                <a:latin typeface="Arial"/>
                <a:cs typeface="Arial"/>
              </a:rPr>
              <a:t>, </a:t>
            </a:r>
            <a:r>
              <a:rPr lang="en-GB" sz="1100" b="0" dirty="0" err="1">
                <a:latin typeface="Arial"/>
                <a:cs typeface="Arial"/>
              </a:rPr>
              <a:t>Plaju</a:t>
            </a:r>
            <a:r>
              <a:rPr lang="en-GB" sz="1100" b="0" dirty="0">
                <a:latin typeface="Arial"/>
                <a:cs typeface="Arial"/>
              </a:rPr>
              <a:t>)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Pelabuhan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US" sz="1100" b="0" dirty="0" err="1">
                <a:latin typeface="Arial"/>
                <a:cs typeface="Arial"/>
              </a:rPr>
              <a:t>Patimban</a:t>
            </a:r>
            <a:endParaRPr lang="en-ID" sz="1100" b="0" dirty="0">
              <a:latin typeface="Arial"/>
              <a:cs typeface="Arial"/>
            </a:endParaRP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Kilang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Minyak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Tuban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i="1" dirty="0" err="1">
                <a:latin typeface="Arial"/>
                <a:cs typeface="Arial"/>
              </a:rPr>
              <a:t>Palapa</a:t>
            </a:r>
            <a:r>
              <a:rPr lang="en-GB" sz="1100" b="0" i="1" dirty="0">
                <a:latin typeface="Arial"/>
                <a:cs typeface="Arial"/>
              </a:rPr>
              <a:t> Ring Broadband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21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Kereta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Api</a:t>
            </a:r>
            <a:r>
              <a:rPr lang="en-GB" sz="1100" b="0" dirty="0">
                <a:latin typeface="Arial"/>
                <a:cs typeface="Arial"/>
              </a:rPr>
              <a:t> Kalimantan </a:t>
            </a:r>
            <a:r>
              <a:rPr lang="en-GB" sz="1100" b="0" dirty="0" err="1">
                <a:latin typeface="Arial"/>
                <a:cs typeface="Arial"/>
              </a:rPr>
              <a:t>Timur</a:t>
            </a:r>
            <a:r>
              <a:rPr lang="en-ID" sz="1100" b="0" dirty="0">
                <a:latin typeface="Arial"/>
                <a:cs typeface="Arial"/>
              </a:rPr>
              <a:t> </a:t>
            </a:r>
            <a:endParaRPr lang="en-US" sz="1100" b="0" dirty="0">
              <a:latin typeface="Arial"/>
              <a:ea typeface="MS PGothic" charset="0"/>
              <a:cs typeface="Arial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97070" y="4571414"/>
            <a:ext cx="3086456" cy="2446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US" sz="1100" b="0" dirty="0" err="1">
                <a:latin typeface="Arial"/>
                <a:cs typeface="Arial"/>
              </a:rPr>
              <a:t>Jalan</a:t>
            </a:r>
            <a:r>
              <a:rPr lang="en-US" sz="1100" b="0" dirty="0">
                <a:latin typeface="Arial"/>
                <a:cs typeface="Arial"/>
              </a:rPr>
              <a:t> </a:t>
            </a:r>
            <a:r>
              <a:rPr lang="en-US" sz="1100" b="0" dirty="0" err="1">
                <a:latin typeface="Arial"/>
                <a:cs typeface="Arial"/>
              </a:rPr>
              <a:t>Tol</a:t>
            </a:r>
            <a:r>
              <a:rPr lang="en-US" sz="1100" b="0" dirty="0">
                <a:latin typeface="Arial"/>
                <a:cs typeface="Arial"/>
              </a:rPr>
              <a:t> Balikpapan-</a:t>
            </a:r>
            <a:r>
              <a:rPr lang="en-US" sz="1100" b="0" dirty="0" err="1">
                <a:latin typeface="Arial"/>
                <a:cs typeface="Arial"/>
              </a:rPr>
              <a:t>Samarinda</a:t>
            </a:r>
            <a:endParaRPr lang="en-US" sz="1100" b="0" dirty="0">
              <a:latin typeface="Arial"/>
              <a:ea typeface="MS PGothic" charset="0"/>
              <a:cs typeface="Arial"/>
            </a:endParaRP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US" sz="1100" b="0" dirty="0" err="1">
                <a:latin typeface="Arial"/>
                <a:ea typeface="MS PGothic" charset="0"/>
                <a:cs typeface="Arial"/>
              </a:rPr>
              <a:t>Jalan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Tol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Manado-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Bitung</a:t>
            </a:r>
            <a:endParaRPr lang="en-US" sz="1100" b="0" dirty="0">
              <a:latin typeface="Arial"/>
              <a:ea typeface="MS PGothic" charset="0"/>
              <a:cs typeface="Arial"/>
            </a:endParaRP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US" sz="1100" b="0" dirty="0" err="1">
                <a:latin typeface="Arial"/>
                <a:ea typeface="MS PGothic" charset="0"/>
                <a:cs typeface="Arial"/>
              </a:rPr>
              <a:t>Jalan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Tol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1100" b="0" dirty="0" err="1" smtClean="0">
                <a:latin typeface="Arial"/>
                <a:ea typeface="MS PGothic" charset="0"/>
                <a:cs typeface="Arial"/>
              </a:rPr>
              <a:t>Panimbang</a:t>
            </a:r>
            <a:r>
              <a:rPr lang="en-US" sz="1100" dirty="0" err="1">
                <a:latin typeface="Arial"/>
                <a:ea typeface="MS PGothic" charset="0"/>
                <a:cs typeface="Arial"/>
              </a:rPr>
              <a:t>-</a:t>
            </a:r>
            <a:r>
              <a:rPr lang="en-US" sz="1100" b="0" dirty="0" err="1" smtClean="0">
                <a:latin typeface="Arial"/>
                <a:ea typeface="MS PGothic" charset="0"/>
                <a:cs typeface="Arial"/>
              </a:rPr>
              <a:t>Serang</a:t>
            </a:r>
            <a:endParaRPr lang="en-US" sz="1100" b="0" dirty="0">
              <a:latin typeface="Arial"/>
              <a:ea typeface="MS PGothic" charset="0"/>
              <a:cs typeface="Arial"/>
            </a:endParaRP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US" sz="1100" b="0" dirty="0">
                <a:latin typeface="Arial"/>
                <a:ea typeface="MS PGothic" charset="0"/>
                <a:cs typeface="Arial"/>
              </a:rPr>
              <a:t>8 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Ruas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Jalan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1100" b="0" dirty="0" err="1">
                <a:latin typeface="Arial"/>
                <a:ea typeface="MS PGothic" charset="0"/>
                <a:cs typeface="Arial"/>
              </a:rPr>
              <a:t>Tol</a:t>
            </a:r>
            <a:r>
              <a:rPr lang="en-US" sz="1100" b="0" dirty="0">
                <a:latin typeface="Arial"/>
                <a:ea typeface="MS PGothic" charset="0"/>
                <a:cs typeface="Arial"/>
              </a:rPr>
              <a:t> Trans Sumatera</a:t>
            </a: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Kereta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Api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Ekspres</a:t>
            </a:r>
            <a:r>
              <a:rPr lang="en-GB" sz="1100" b="0" dirty="0">
                <a:latin typeface="Arial"/>
                <a:cs typeface="Arial"/>
              </a:rPr>
              <a:t> SHIA</a:t>
            </a:r>
            <a:endParaRPr lang="en-ID" sz="1100" b="0" dirty="0">
              <a:latin typeface="Arial"/>
              <a:cs typeface="Arial"/>
            </a:endParaRP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MRT Jakarta </a:t>
            </a:r>
            <a:r>
              <a:rPr lang="en-GB" sz="1100" b="0" dirty="0" err="1">
                <a:latin typeface="Arial"/>
                <a:cs typeface="Arial"/>
              </a:rPr>
              <a:t>Jalur</a:t>
            </a:r>
            <a:r>
              <a:rPr lang="en-GB" sz="1100" b="0" dirty="0">
                <a:latin typeface="Arial"/>
                <a:cs typeface="Arial"/>
              </a:rPr>
              <a:t> Selatan – Utara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Kereta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Api</a:t>
            </a:r>
            <a:r>
              <a:rPr lang="en-GB" sz="1100" b="0" dirty="0">
                <a:latin typeface="Arial"/>
                <a:cs typeface="Arial"/>
              </a:rPr>
              <a:t> Makassar – </a:t>
            </a:r>
            <a:r>
              <a:rPr lang="en-GB" sz="1100" b="0" dirty="0" err="1">
                <a:latin typeface="Arial"/>
                <a:cs typeface="Arial"/>
              </a:rPr>
              <a:t>Parepare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dirty="0" err="1">
                <a:latin typeface="Arial"/>
                <a:cs typeface="Arial"/>
              </a:rPr>
              <a:t>Pelabuhan</a:t>
            </a:r>
            <a:r>
              <a:rPr lang="en-GB" sz="1100" dirty="0">
                <a:latin typeface="Arial"/>
                <a:cs typeface="Arial"/>
              </a:rPr>
              <a:t> Hub </a:t>
            </a:r>
            <a:r>
              <a:rPr lang="en-GB" sz="1100" dirty="0" err="1">
                <a:latin typeface="Arial"/>
                <a:cs typeface="Arial"/>
              </a:rPr>
              <a:t>Internasional</a:t>
            </a:r>
            <a:r>
              <a:rPr lang="en-GB" sz="1100" dirty="0">
                <a:latin typeface="Arial"/>
                <a:cs typeface="Arial"/>
              </a:rPr>
              <a:t> Kuala </a:t>
            </a:r>
            <a:r>
              <a:rPr lang="en-GB" sz="1100" dirty="0" err="1">
                <a:latin typeface="Arial"/>
                <a:cs typeface="Arial"/>
              </a:rPr>
              <a:t>Tanjung</a:t>
            </a:r>
            <a:r>
              <a:rPr lang="en-ID" sz="1100" dirty="0">
                <a:latin typeface="Arial"/>
                <a:cs typeface="Arial"/>
              </a:rPr>
              <a:t> </a:t>
            </a: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b="0" dirty="0" err="1">
                <a:latin typeface="Arial"/>
                <a:cs typeface="Arial"/>
              </a:rPr>
              <a:t>Pelabuhan</a:t>
            </a:r>
            <a:r>
              <a:rPr lang="en-GB" sz="1100" b="0" dirty="0">
                <a:latin typeface="Arial"/>
                <a:cs typeface="Arial"/>
              </a:rPr>
              <a:t> Hub </a:t>
            </a:r>
            <a:r>
              <a:rPr lang="en-GB" sz="1100" b="0" dirty="0" err="1">
                <a:latin typeface="Arial"/>
                <a:cs typeface="Arial"/>
              </a:rPr>
              <a:t>Internasional</a:t>
            </a:r>
            <a:r>
              <a:rPr lang="en-GB" sz="1100" b="0" dirty="0">
                <a:latin typeface="Arial"/>
                <a:cs typeface="Arial"/>
              </a:rPr>
              <a:t> </a:t>
            </a:r>
            <a:r>
              <a:rPr lang="en-GB" sz="1100" b="0" dirty="0" err="1">
                <a:latin typeface="Arial"/>
                <a:cs typeface="Arial"/>
              </a:rPr>
              <a:t>Bitung</a:t>
            </a:r>
            <a:endParaRPr lang="en-US" sz="1100" b="0" dirty="0">
              <a:latin typeface="Arial"/>
              <a:ea typeface="MS PGothic" charset="0"/>
              <a:cs typeface="Arial"/>
            </a:endParaRPr>
          </a:p>
          <a:p>
            <a:pPr marL="176213" indent="-176213">
              <a:buAutoNum type="arabicPeriod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PLTA </a:t>
            </a:r>
            <a:r>
              <a:rPr lang="en-GB" sz="1100" b="0" dirty="0" err="1">
                <a:latin typeface="Arial"/>
                <a:cs typeface="Arial"/>
              </a:rPr>
              <a:t>Karangkates</a:t>
            </a:r>
            <a:r>
              <a:rPr lang="en-GB" sz="1100" b="0" dirty="0">
                <a:latin typeface="Arial"/>
                <a:cs typeface="Arial"/>
              </a:rPr>
              <a:t> IV &amp; V (2x50MW)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1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PLTA </a:t>
            </a:r>
            <a:r>
              <a:rPr lang="en-GB" sz="1100" b="0" dirty="0" err="1">
                <a:latin typeface="Arial"/>
                <a:cs typeface="Arial"/>
              </a:rPr>
              <a:t>Kesamben</a:t>
            </a:r>
            <a:r>
              <a:rPr lang="en-GB" sz="1100" b="0" dirty="0">
                <a:latin typeface="Arial"/>
                <a:cs typeface="Arial"/>
              </a:rPr>
              <a:t> (37MW)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228600" indent="-228600">
              <a:buFont typeface="+mj-lt"/>
              <a:buAutoNum type="arabicPeriod" startAt="11"/>
              <a:tabLst>
                <a:tab pos="176213" algn="l"/>
              </a:tabLst>
            </a:pPr>
            <a:r>
              <a:rPr lang="en-GB" sz="1100" b="0" dirty="0">
                <a:latin typeface="Arial"/>
                <a:cs typeface="Arial"/>
              </a:rPr>
              <a:t>PLTA </a:t>
            </a:r>
            <a:r>
              <a:rPr lang="en-GB" sz="1100" b="0" dirty="0" err="1">
                <a:latin typeface="Arial"/>
                <a:cs typeface="Arial"/>
              </a:rPr>
              <a:t>Lodoyo</a:t>
            </a:r>
            <a:r>
              <a:rPr lang="en-GB" sz="1100" b="0" dirty="0">
                <a:latin typeface="Arial"/>
                <a:cs typeface="Arial"/>
              </a:rPr>
              <a:t> (10MW)</a:t>
            </a:r>
            <a:r>
              <a:rPr lang="en-ID" sz="1100" b="0" dirty="0">
                <a:latin typeface="Arial"/>
                <a:cs typeface="Arial"/>
              </a:rPr>
              <a:t> </a:t>
            </a:r>
          </a:p>
          <a:p>
            <a:pPr marL="176213" indent="-176213">
              <a:buAutoNum type="arabicPeriod"/>
              <a:tabLst>
                <a:tab pos="176213" algn="l"/>
              </a:tabLst>
            </a:pPr>
            <a:endParaRPr lang="en-US" sz="1100" b="0" dirty="0">
              <a:latin typeface="Arial"/>
              <a:ea typeface="MS PGothic" charset="0"/>
              <a:cs typeface="Arial"/>
            </a:endParaRPr>
          </a:p>
          <a:p>
            <a:pPr>
              <a:tabLst>
                <a:tab pos="176213" algn="l"/>
              </a:tabLst>
            </a:pPr>
            <a:endParaRPr lang="en-US" sz="1000" b="0" dirty="0">
              <a:latin typeface="Arial"/>
              <a:ea typeface="MS PGothic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738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C8bm.20qkF17X_oXAs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KslqPLP0.5IDSpAQJG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cmisW9d0iDQAKr3.V4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vAivy.k.1MEqhKDmc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cmisW9d0iDQAKr3.V4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vAivy.k.1MEqhKDmc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E_L_ETAMrkCfcNCHNL_a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u_DlZMd1X0G2BtdS5aB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2QsNJ03Wo0OzAvxvozLe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5nprKs7ZpEaWRBmWOYo9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uaYQpeM2_0qEDKCkIJg4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98rzlIAgxkGmELw4MpyXi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78</TotalTime>
  <Words>1900</Words>
  <Application>Microsoft Office PowerPoint</Application>
  <PresentationFormat>A4 Paper (210x297 mm)</PresentationFormat>
  <Paragraphs>459</Paragraphs>
  <Slides>17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MS PGothic</vt:lpstr>
      <vt:lpstr>MS PGothic</vt:lpstr>
      <vt:lpstr>宋体</vt:lpstr>
      <vt:lpstr>宋体</vt:lpstr>
      <vt:lpstr>Arial</vt:lpstr>
      <vt:lpstr>Arial Narrow</vt:lpstr>
      <vt:lpstr>Calibri</vt:lpstr>
      <vt:lpstr>Courier New</vt:lpstr>
      <vt:lpstr>Helvetica</vt:lpstr>
      <vt:lpstr>Helvetica Neue Bold Condensed</vt:lpstr>
      <vt:lpstr>Optima</vt:lpstr>
      <vt:lpstr>Wingdings</vt:lpstr>
      <vt:lpstr>Custom Design</vt:lpstr>
      <vt:lpstr>Sinergi Dan Komitmen KPPIP Dalam Pencapaian Proyek Prioritas dan PSN</vt:lpstr>
      <vt:lpstr>Agenda</vt:lpstr>
      <vt:lpstr>Agenda</vt:lpstr>
      <vt:lpstr>KPPIP dibentuk sebagai centre of excellence untuk percepatan dan penyiapan serta pemantauan pencapaian proyek infrastruktur prioritas</vt:lpstr>
      <vt:lpstr>KPPIP didukung oleh Tim Pelaksana dan Project Management Office (PMO) yang diisi tenaga ahli profesional terpilih sebagai penggerak utama</vt:lpstr>
      <vt:lpstr>Selain proyek prioritas, KPPIP turut berperan dalam memantau dan mengevaluasi Proyek Strategis Nasional</vt:lpstr>
      <vt:lpstr>Fokus dan Perkembangan KPPIP sejak pembentukannya pada tahun 2014 melalui Perpres No. 75/2014</vt:lpstr>
      <vt:lpstr>Agenda</vt:lpstr>
      <vt:lpstr>Status tahapan penyiapan dan persebaran 30 Proyek Prioritas</vt:lpstr>
      <vt:lpstr>Status kemajuan 30 proyek prioritas</vt:lpstr>
      <vt:lpstr>Pencapaian Proyek Prioritas Tahun 2016 dan Potensi Pencapaian Tahun 2017</vt:lpstr>
      <vt:lpstr>Agenda</vt:lpstr>
      <vt:lpstr>Proyek PSN dapat menggunakan berbagai fasilitas dan keistimewaan sesuai Perpres No. 3/2016</vt:lpstr>
      <vt:lpstr>PowerPoint Presentation</vt:lpstr>
      <vt:lpstr>Status kemajuan 225 Proyek Strategis Nasional (PSN) and Program Kelistrikan 35 GW</vt:lpstr>
      <vt:lpstr>PowerPoint Presentation</vt:lpstr>
      <vt:lpstr>TERIMA KASIH</vt:lpstr>
    </vt:vector>
  </TitlesOfParts>
  <Company>Person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TS 3</dc:creator>
  <cp:lastModifiedBy>Guest</cp:lastModifiedBy>
  <cp:revision>467</cp:revision>
  <dcterms:created xsi:type="dcterms:W3CDTF">2015-10-19T07:05:55Z</dcterms:created>
  <dcterms:modified xsi:type="dcterms:W3CDTF">2017-04-07T02:18:57Z</dcterms:modified>
</cp:coreProperties>
</file>